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179"/>
  </p:notesMasterIdLst>
  <p:sldIdLst>
    <p:sldId id="257" r:id="rId5"/>
    <p:sldId id="957" r:id="rId6"/>
    <p:sldId id="958" r:id="rId7"/>
    <p:sldId id="959" r:id="rId8"/>
    <p:sldId id="370" r:id="rId9"/>
    <p:sldId id="371" r:id="rId10"/>
    <p:sldId id="261" r:id="rId11"/>
    <p:sldId id="962" r:id="rId12"/>
    <p:sldId id="601" r:id="rId13"/>
    <p:sldId id="602" r:id="rId14"/>
    <p:sldId id="937" r:id="rId15"/>
    <p:sldId id="938" r:id="rId16"/>
    <p:sldId id="947" r:id="rId17"/>
    <p:sldId id="327" r:id="rId18"/>
    <p:sldId id="594" r:id="rId19"/>
    <p:sldId id="332" r:id="rId20"/>
    <p:sldId id="324" r:id="rId21"/>
    <p:sldId id="963" r:id="rId22"/>
    <p:sldId id="945" r:id="rId23"/>
    <p:sldId id="941" r:id="rId24"/>
    <p:sldId id="942" r:id="rId25"/>
    <p:sldId id="943" r:id="rId26"/>
    <p:sldId id="944" r:id="rId27"/>
    <p:sldId id="946" r:id="rId28"/>
    <p:sldId id="1005" r:id="rId29"/>
    <p:sldId id="1006" r:id="rId30"/>
    <p:sldId id="609" r:id="rId31"/>
    <p:sldId id="966" r:id="rId32"/>
    <p:sldId id="967" r:id="rId33"/>
    <p:sldId id="971" r:id="rId34"/>
    <p:sldId id="972" r:id="rId35"/>
    <p:sldId id="973" r:id="rId36"/>
    <p:sldId id="974" r:id="rId37"/>
    <p:sldId id="975" r:id="rId38"/>
    <p:sldId id="980" r:id="rId39"/>
    <p:sldId id="968" r:id="rId40"/>
    <p:sldId id="976" r:id="rId41"/>
    <p:sldId id="977" r:id="rId42"/>
    <p:sldId id="1007" r:id="rId43"/>
    <p:sldId id="1003" r:id="rId44"/>
    <p:sldId id="611" r:id="rId45"/>
    <p:sldId id="948" r:id="rId46"/>
    <p:sldId id="612" r:id="rId47"/>
    <p:sldId id="613" r:id="rId48"/>
    <p:sldId id="614" r:id="rId49"/>
    <p:sldId id="616" r:id="rId50"/>
    <p:sldId id="949" r:id="rId51"/>
    <p:sldId id="950" r:id="rId52"/>
    <p:sldId id="951" r:id="rId53"/>
    <p:sldId id="952" r:id="rId54"/>
    <p:sldId id="955" r:id="rId55"/>
    <p:sldId id="953" r:id="rId56"/>
    <p:sldId id="954" r:id="rId57"/>
    <p:sldId id="1008" r:id="rId58"/>
    <p:sldId id="656" r:id="rId59"/>
    <p:sldId id="643" r:id="rId60"/>
    <p:sldId id="1009" r:id="rId61"/>
    <p:sldId id="665" r:id="rId62"/>
    <p:sldId id="672" r:id="rId63"/>
    <p:sldId id="1010" r:id="rId64"/>
    <p:sldId id="1011" r:id="rId65"/>
    <p:sldId id="680" r:id="rId66"/>
    <p:sldId id="610" r:id="rId67"/>
    <p:sldId id="674" r:id="rId68"/>
    <p:sldId id="681" r:id="rId69"/>
    <p:sldId id="692" r:id="rId70"/>
    <p:sldId id="693" r:id="rId71"/>
    <p:sldId id="676" r:id="rId72"/>
    <p:sldId id="694" r:id="rId73"/>
    <p:sldId id="685" r:id="rId74"/>
    <p:sldId id="697" r:id="rId75"/>
    <p:sldId id="698" r:id="rId76"/>
    <p:sldId id="689" r:id="rId77"/>
    <p:sldId id="699" r:id="rId78"/>
    <p:sldId id="700" r:id="rId79"/>
    <p:sldId id="690" r:id="rId80"/>
    <p:sldId id="682" r:id="rId81"/>
    <p:sldId id="677" r:id="rId82"/>
    <p:sldId id="710" r:id="rId83"/>
    <p:sldId id="713" r:id="rId84"/>
    <p:sldId id="712" r:id="rId85"/>
    <p:sldId id="714" r:id="rId86"/>
    <p:sldId id="723" r:id="rId87"/>
    <p:sldId id="725" r:id="rId88"/>
    <p:sldId id="726" r:id="rId89"/>
    <p:sldId id="728" r:id="rId90"/>
    <p:sldId id="730" r:id="rId91"/>
    <p:sldId id="731" r:id="rId92"/>
    <p:sldId id="732" r:id="rId93"/>
    <p:sldId id="733" r:id="rId94"/>
    <p:sldId id="734" r:id="rId95"/>
    <p:sldId id="735" r:id="rId96"/>
    <p:sldId id="736" r:id="rId97"/>
    <p:sldId id="737" r:id="rId98"/>
    <p:sldId id="707" r:id="rId99"/>
    <p:sldId id="738" r:id="rId100"/>
    <p:sldId id="739" r:id="rId101"/>
    <p:sldId id="740" r:id="rId102"/>
    <p:sldId id="741" r:id="rId103"/>
    <p:sldId id="743" r:id="rId104"/>
    <p:sldId id="742" r:id="rId105"/>
    <p:sldId id="744" r:id="rId106"/>
    <p:sldId id="745" r:id="rId107"/>
    <p:sldId id="746" r:id="rId108"/>
    <p:sldId id="747" r:id="rId109"/>
    <p:sldId id="748" r:id="rId110"/>
    <p:sldId id="749" r:id="rId111"/>
    <p:sldId id="750" r:id="rId112"/>
    <p:sldId id="751" r:id="rId113"/>
    <p:sldId id="752" r:id="rId114"/>
    <p:sldId id="755" r:id="rId115"/>
    <p:sldId id="756" r:id="rId116"/>
    <p:sldId id="757" r:id="rId117"/>
    <p:sldId id="758" r:id="rId118"/>
    <p:sldId id="759" r:id="rId119"/>
    <p:sldId id="760" r:id="rId120"/>
    <p:sldId id="761" r:id="rId121"/>
    <p:sldId id="762" r:id="rId122"/>
    <p:sldId id="764" r:id="rId123"/>
    <p:sldId id="817" r:id="rId124"/>
    <p:sldId id="765" r:id="rId125"/>
    <p:sldId id="766" r:id="rId126"/>
    <p:sldId id="767" r:id="rId127"/>
    <p:sldId id="769" r:id="rId128"/>
    <p:sldId id="784" r:id="rId129"/>
    <p:sldId id="785" r:id="rId130"/>
    <p:sldId id="786" r:id="rId131"/>
    <p:sldId id="770" r:id="rId132"/>
    <p:sldId id="768" r:id="rId133"/>
    <p:sldId id="798" r:id="rId134"/>
    <p:sldId id="803" r:id="rId135"/>
    <p:sldId id="804" r:id="rId136"/>
    <p:sldId id="805" r:id="rId137"/>
    <p:sldId id="806" r:id="rId138"/>
    <p:sldId id="807" r:id="rId139"/>
    <p:sldId id="763" r:id="rId140"/>
    <p:sldId id="810" r:id="rId141"/>
    <p:sldId id="827" r:id="rId142"/>
    <p:sldId id="831" r:id="rId143"/>
    <p:sldId id="832" r:id="rId144"/>
    <p:sldId id="833" r:id="rId145"/>
    <p:sldId id="830" r:id="rId146"/>
    <p:sldId id="837" r:id="rId147"/>
    <p:sldId id="850" r:id="rId148"/>
    <p:sldId id="877" r:id="rId149"/>
    <p:sldId id="878" r:id="rId150"/>
    <p:sldId id="879" r:id="rId151"/>
    <p:sldId id="881" r:id="rId152"/>
    <p:sldId id="885" r:id="rId153"/>
    <p:sldId id="882" r:id="rId154"/>
    <p:sldId id="883" r:id="rId155"/>
    <p:sldId id="884" r:id="rId156"/>
    <p:sldId id="849" r:id="rId157"/>
    <p:sldId id="880" r:id="rId158"/>
    <p:sldId id="873" r:id="rId159"/>
    <p:sldId id="886" r:id="rId160"/>
    <p:sldId id="891" r:id="rId161"/>
    <p:sldId id="887" r:id="rId162"/>
    <p:sldId id="888" r:id="rId163"/>
    <p:sldId id="889" r:id="rId164"/>
    <p:sldId id="890" r:id="rId165"/>
    <p:sldId id="892" r:id="rId166"/>
    <p:sldId id="933" r:id="rId167"/>
    <p:sldId id="935" r:id="rId168"/>
    <p:sldId id="932" r:id="rId169"/>
    <p:sldId id="934" r:id="rId170"/>
    <p:sldId id="931" r:id="rId171"/>
    <p:sldId id="936" r:id="rId172"/>
    <p:sldId id="823" r:id="rId173"/>
    <p:sldId id="821" r:id="rId174"/>
    <p:sldId id="825" r:id="rId175"/>
    <p:sldId id="824" r:id="rId176"/>
    <p:sldId id="822" r:id="rId177"/>
    <p:sldId id="296" r:id="rId1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957"/>
            <p14:sldId id="958"/>
            <p14:sldId id="959"/>
            <p14:sldId id="370"/>
            <p14:sldId id="371"/>
            <p14:sldId id="261"/>
            <p14:sldId id="962"/>
          </p14:sldIdLst>
        </p14:section>
        <p14:section name="Intro" id="{71A0EFC3-1B77-42BC-B22F-19AAC7036864}">
          <p14:sldIdLst>
            <p14:sldId id="601"/>
            <p14:sldId id="602"/>
            <p14:sldId id="937"/>
            <p14:sldId id="938"/>
            <p14:sldId id="947"/>
            <p14:sldId id="327"/>
            <p14:sldId id="594"/>
            <p14:sldId id="332"/>
            <p14:sldId id="324"/>
            <p14:sldId id="963"/>
            <p14:sldId id="945"/>
            <p14:sldId id="941"/>
            <p14:sldId id="942"/>
            <p14:sldId id="943"/>
            <p14:sldId id="944"/>
            <p14:sldId id="946"/>
          </p14:sldIdLst>
        </p14:section>
        <p14:section name="DEMO 1" id="{C94FA127-4FC8-4142-82F0-0B43FA6C8CE7}">
          <p14:sldIdLst>
            <p14:sldId id="1005"/>
            <p14:sldId id="1006"/>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954"/>
          </p14:sldIdLst>
        </p14:section>
        <p14:section name="DEMO 3" id="{3CFF1FDD-1FE4-4B4E-BDE0-EF0CF34E584E}">
          <p14:sldIdLst>
            <p14:sldId id="1008"/>
            <p14:sldId id="656"/>
            <p14:sldId id="643"/>
          </p14:sldIdLst>
        </p14:section>
        <p14:section name="DEMO 4" id="{5B15D6A0-FEAD-49FE-B7FF-0F9158923D9F}">
          <p14:sldIdLst>
            <p14:sldId id="1009"/>
            <p14:sldId id="665"/>
            <p14:sldId id="672"/>
          </p14:sldIdLst>
        </p14:section>
        <p14:section name="DEMO 5" id="{374993CF-7838-4273-8F76-EAA2A8A3643A}">
          <p14:sldIdLst>
            <p14:sldId id="1010"/>
            <p14:sldId id="1011"/>
          </p14:sldIdLst>
        </p14:section>
        <p14:section name="Pre-Lab Pointers" id="{8149B10F-DB49-446F-9D9A-01A52F0F0044}">
          <p14:sldIdLst>
            <p14:sldId id="680"/>
            <p14:sldId id="610"/>
            <p14:sldId id="674"/>
            <p14:sldId id="681"/>
            <p14:sldId id="692"/>
            <p14:sldId id="693"/>
            <p14:sldId id="676"/>
            <p14:sldId id="694"/>
            <p14:sldId id="685"/>
            <p14:sldId id="697"/>
            <p14:sldId id="698"/>
            <p14:sldId id="689"/>
            <p14:sldId id="699"/>
            <p14:sldId id="700"/>
            <p14:sldId id="690"/>
            <p14:sldId id="682"/>
            <p14:sldId id="677"/>
            <p14:sldId id="710"/>
            <p14:sldId id="713"/>
            <p14:sldId id="712"/>
            <p14:sldId id="714"/>
            <p14:sldId id="723"/>
            <p14:sldId id="725"/>
            <p14:sldId id="726"/>
            <p14:sldId id="728"/>
            <p14:sldId id="730"/>
            <p14:sldId id="731"/>
            <p14:sldId id="732"/>
            <p14:sldId id="733"/>
            <p14:sldId id="734"/>
            <p14:sldId id="735"/>
            <p14:sldId id="736"/>
            <p14:sldId id="737"/>
            <p14:sldId id="707"/>
            <p14:sldId id="738"/>
            <p14:sldId id="739"/>
            <p14:sldId id="740"/>
            <p14:sldId id="741"/>
            <p14:sldId id="743"/>
            <p14:sldId id="742"/>
            <p14:sldId id="744"/>
            <p14:sldId id="745"/>
            <p14:sldId id="746"/>
            <p14:sldId id="747"/>
            <p14:sldId id="748"/>
            <p14:sldId id="749"/>
            <p14:sldId id="750"/>
            <p14:sldId id="751"/>
            <p14:sldId id="752"/>
            <p14:sldId id="755"/>
            <p14:sldId id="756"/>
            <p14:sldId id="757"/>
            <p14:sldId id="758"/>
            <p14:sldId id="759"/>
            <p14:sldId id="760"/>
            <p14:sldId id="761"/>
            <p14:sldId id="762"/>
          </p14:sldIdLst>
        </p14:section>
        <p14:section name="Lab" id="{01FE8A94-04D0-4940-A897-1B243527CE96}">
          <p14:sldIdLst>
            <p14:sldId id="764"/>
          </p14:sldIdLst>
        </p14:section>
        <p14:section name="DEMO +" id="{3DA1B30E-A8EB-44DD-921F-F73C14FBBA55}">
          <p14:sldIdLst>
            <p14:sldId id="817"/>
            <p14:sldId id="765"/>
            <p14:sldId id="766"/>
            <p14:sldId id="767"/>
            <p14:sldId id="769"/>
            <p14:sldId id="784"/>
            <p14:sldId id="785"/>
            <p14:sldId id="786"/>
            <p14:sldId id="770"/>
            <p14:sldId id="768"/>
            <p14:sldId id="798"/>
            <p14:sldId id="803"/>
            <p14:sldId id="804"/>
            <p14:sldId id="805"/>
            <p14:sldId id="806"/>
            <p14:sldId id="807"/>
          </p14:sldIdLst>
        </p14:section>
        <p14:section name="Quiz" id="{C147E044-4FA5-4E51-8922-FF67A00F879A}">
          <p14:sldIdLst>
            <p14:sldId id="763"/>
          </p14:sldIdLst>
        </p14:section>
        <p14:section name="Lunch" id="{F632480A-CA5F-47E6-A674-F3F12AC184FF}">
          <p14:sldIdLst>
            <p14:sldId id="810"/>
          </p14:sldIdLst>
        </p14:section>
        <p14:section name="Power BI Service" id="{342DA9E4-43A8-45BD-92A5-E55F2BDA6DC5}">
          <p14:sldIdLst>
            <p14:sldId id="827"/>
            <p14:sldId id="831"/>
            <p14:sldId id="832"/>
            <p14:sldId id="833"/>
            <p14:sldId id="830"/>
            <p14:sldId id="837"/>
            <p14:sldId id="850"/>
            <p14:sldId id="877"/>
            <p14:sldId id="878"/>
            <p14:sldId id="879"/>
            <p14:sldId id="881"/>
            <p14:sldId id="885"/>
            <p14:sldId id="882"/>
            <p14:sldId id="883"/>
            <p14:sldId id="884"/>
            <p14:sldId id="849"/>
            <p14:sldId id="880"/>
            <p14:sldId id="873"/>
            <p14:sldId id="886"/>
            <p14:sldId id="891"/>
            <p14:sldId id="887"/>
            <p14:sldId id="888"/>
            <p14:sldId id="889"/>
            <p14:sldId id="890"/>
            <p14:sldId id="892"/>
            <p14:sldId id="933"/>
            <p14:sldId id="935"/>
            <p14:sldId id="932"/>
            <p14:sldId id="934"/>
            <p14:sldId id="931"/>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352"/>
    <a:srgbClr val="0075D6"/>
    <a:srgbClr val="FFFFFF"/>
    <a:srgbClr val="742774"/>
    <a:srgbClr val="262626"/>
    <a:srgbClr val="8E98A7"/>
    <a:srgbClr val="768092"/>
    <a:srgbClr val="404040"/>
    <a:srgbClr val="F2C812"/>
    <a:srgbClr val="FAFA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3DC05-B761-4AF0-89BB-24376A01088A}" v="519" dt="2019-04-24T13:27:53.3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7" autoAdjust="0"/>
    <p:restoredTop sz="87540" autoAdjust="0"/>
  </p:normalViewPr>
  <p:slideViewPr>
    <p:cSldViewPr snapToGrid="0">
      <p:cViewPr varScale="1">
        <p:scale>
          <a:sx n="108" d="100"/>
          <a:sy n="108" d="100"/>
        </p:scale>
        <p:origin x="378" y="10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viewProps" Target="viewProps.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theme" Target="theme/theme1.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microsoft.com/office/2016/11/relationships/changesInfo" Target="changesInfos/changesInfo1.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notesMaster" Target="notesMasters/notesMaster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presProps" Target="presProps.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slideMaster" Target="slideMasters/slideMaster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am Fleitas" userId="461d7124ec7a38ad" providerId="LiveId" clId="{8AD16BFB-0692-4633-B78B-1AAEE5C36FCF}"/>
    <pc:docChg chg="modSld">
      <pc:chgData name="Hiram Fleitas" userId="461d7124ec7a38ad" providerId="LiveId" clId="{8AD16BFB-0692-4633-B78B-1AAEE5C36FCF}" dt="2019-03-21T03:58:20.295" v="1" actId="20577"/>
      <pc:docMkLst>
        <pc:docMk/>
      </pc:docMkLst>
      <pc:sldChg chg="modSp">
        <pc:chgData name="Hiram Fleitas" userId="461d7124ec7a38ad" providerId="LiveId" clId="{8AD16BFB-0692-4633-B78B-1AAEE5C36FCF}" dt="2019-03-21T03:58:20.295" v="1" actId="20577"/>
        <pc:sldMkLst>
          <pc:docMk/>
          <pc:sldMk cId="881483197" sldId="824"/>
        </pc:sldMkLst>
        <pc:spChg chg="mod">
          <ac:chgData name="Hiram Fleitas" userId="461d7124ec7a38ad" providerId="LiveId" clId="{8AD16BFB-0692-4633-B78B-1AAEE5C36FCF}" dt="2019-03-21T03:58:20.295" v="1" actId="20577"/>
          <ac:spMkLst>
            <pc:docMk/>
            <pc:sldMk cId="881483197" sldId="824"/>
            <ac:spMk id="133" creationId="{B470E301-CBB8-47E6-A996-881B7A940AF4}"/>
          </ac:spMkLst>
        </pc:spChg>
      </pc:sldChg>
    </pc:docChg>
  </pc:docChgLst>
  <pc:docChgLst>
    <pc:chgData name="Hiram Fleitas" userId="461d7124ec7a38ad" providerId="LiveId" clId="{C3DF72AE-141A-49D0-83B4-D821F2DB467D}"/>
    <pc:docChg chg="undo redo custSel addSld modSld">
      <pc:chgData name="Hiram Fleitas" userId="461d7124ec7a38ad" providerId="LiveId" clId="{C3DF72AE-141A-49D0-83B4-D821F2DB467D}" dt="2019-03-28T20:58:09.231" v="430" actId="478"/>
      <pc:docMkLst>
        <pc:docMk/>
      </pc:docMkLst>
      <pc:sldChg chg="addSp delSp modSp">
        <pc:chgData name="Hiram Fleitas" userId="461d7124ec7a38ad" providerId="LiveId" clId="{C3DF72AE-141A-49D0-83B4-D821F2DB467D}" dt="2019-03-28T01:50:01.466" v="205"/>
        <pc:sldMkLst>
          <pc:docMk/>
          <pc:sldMk cId="3759792378" sldId="257"/>
        </pc:sldMkLst>
        <pc:grpChg chg="add del">
          <ac:chgData name="Hiram Fleitas" userId="461d7124ec7a38ad" providerId="LiveId" clId="{C3DF72AE-141A-49D0-83B4-D821F2DB467D}" dt="2019-03-28T01:49:55.411" v="203" actId="478"/>
          <ac:grpSpMkLst>
            <pc:docMk/>
            <pc:sldMk cId="3759792378" sldId="257"/>
            <ac:grpSpMk id="12" creationId="{55CC9167-467F-46C8-8B6E-B18F2732E86F}"/>
          </ac:grpSpMkLst>
        </pc:grpChg>
        <pc:picChg chg="add del">
          <ac:chgData name="Hiram Fleitas" userId="461d7124ec7a38ad" providerId="LiveId" clId="{C3DF72AE-141A-49D0-83B4-D821F2DB467D}" dt="2019-03-28T01:49:28.805" v="197"/>
          <ac:picMkLst>
            <pc:docMk/>
            <pc:sldMk cId="3759792378" sldId="257"/>
            <ac:picMk id="8" creationId="{37CDA29B-8A4B-476A-B56E-280893C4D347}"/>
          </ac:picMkLst>
        </pc:picChg>
        <pc:picChg chg="add del mod">
          <ac:chgData name="Hiram Fleitas" userId="461d7124ec7a38ad" providerId="LiveId" clId="{C3DF72AE-141A-49D0-83B4-D821F2DB467D}" dt="2019-03-28T01:50:01.466" v="205"/>
          <ac:picMkLst>
            <pc:docMk/>
            <pc:sldMk cId="3759792378" sldId="257"/>
            <ac:picMk id="10" creationId="{31EB8DEF-485B-46B9-980B-4C5EE6E7B7AD}"/>
          </ac:picMkLst>
        </pc:picChg>
      </pc:sldChg>
      <pc:sldChg chg="addSp delSp">
        <pc:chgData name="Hiram Fleitas" userId="461d7124ec7a38ad" providerId="LiveId" clId="{C3DF72AE-141A-49D0-83B4-D821F2DB467D}" dt="2019-03-28T01:50:43.657" v="211" actId="478"/>
        <pc:sldMkLst>
          <pc:docMk/>
          <pc:sldMk cId="1723390988" sldId="258"/>
        </pc:sldMkLst>
        <pc:grpChg chg="del">
          <ac:chgData name="Hiram Fleitas" userId="461d7124ec7a38ad" providerId="LiveId" clId="{C3DF72AE-141A-49D0-83B4-D821F2DB467D}" dt="2019-03-28T01:50:13.435" v="208" actId="478"/>
          <ac:grpSpMkLst>
            <pc:docMk/>
            <pc:sldMk cId="1723390988" sldId="258"/>
            <ac:grpSpMk id="13" creationId="{ABEECBFC-965F-4EB7-8D08-3CC49ABAF93C}"/>
          </ac:grpSpMkLst>
        </pc:grpChg>
        <pc:picChg chg="add del">
          <ac:chgData name="Hiram Fleitas" userId="461d7124ec7a38ad" providerId="LiveId" clId="{C3DF72AE-141A-49D0-83B4-D821F2DB467D}" dt="2019-03-28T01:50:43.657" v="211" actId="478"/>
          <ac:picMkLst>
            <pc:docMk/>
            <pc:sldMk cId="1723390988" sldId="258"/>
            <ac:picMk id="7" creationId="{7EB97DA7-BC37-4D22-B915-64832752BE05}"/>
          </ac:picMkLst>
        </pc:picChg>
      </pc:sldChg>
      <pc:sldChg chg="addSp delSp">
        <pc:chgData name="Hiram Fleitas" userId="461d7124ec7a38ad" providerId="LiveId" clId="{C3DF72AE-141A-49D0-83B4-D821F2DB467D}" dt="2019-03-28T01:51:16.717" v="217"/>
        <pc:sldMkLst>
          <pc:docMk/>
          <pc:sldMk cId="2111787185" sldId="261"/>
        </pc:sldMkLst>
        <pc:grpChg chg="del">
          <ac:chgData name="Hiram Fleitas" userId="461d7124ec7a38ad" providerId="LiveId" clId="{C3DF72AE-141A-49D0-83B4-D821F2DB467D}" dt="2019-03-28T01:51:15.764" v="216" actId="478"/>
          <ac:grpSpMkLst>
            <pc:docMk/>
            <pc:sldMk cId="2111787185" sldId="261"/>
            <ac:grpSpMk id="90" creationId="{B7A94E6C-ABC2-43FC-B5D3-18C908D29917}"/>
          </ac:grpSpMkLst>
        </pc:grpChg>
        <pc:picChg chg="add">
          <ac:chgData name="Hiram Fleitas" userId="461d7124ec7a38ad" providerId="LiveId" clId="{C3DF72AE-141A-49D0-83B4-D821F2DB467D}" dt="2019-03-28T01:51:16.717" v="217"/>
          <ac:picMkLst>
            <pc:docMk/>
            <pc:sldMk cId="2111787185" sldId="261"/>
            <ac:picMk id="46" creationId="{AE8A0B9C-D01E-4237-8C7C-7F8BAF722E10}"/>
          </ac:picMkLst>
        </pc:picChg>
      </pc:sldChg>
      <pc:sldChg chg="addSp delSp modSp">
        <pc:chgData name="Hiram Fleitas" userId="461d7124ec7a38ad" providerId="LiveId" clId="{C3DF72AE-141A-49D0-83B4-D821F2DB467D}" dt="2019-03-28T01:50:07.716" v="207"/>
        <pc:sldMkLst>
          <pc:docMk/>
          <pc:sldMk cId="3363124758" sldId="307"/>
        </pc:sldMkLst>
        <pc:grpChg chg="add del">
          <ac:chgData name="Hiram Fleitas" userId="461d7124ec7a38ad" providerId="LiveId" clId="{C3DF72AE-141A-49D0-83B4-D821F2DB467D}" dt="2019-03-28T01:47:38.665" v="189" actId="478"/>
          <ac:grpSpMkLst>
            <pc:docMk/>
            <pc:sldMk cId="3363124758" sldId="307"/>
            <ac:grpSpMk id="5" creationId="{EC9D7494-C644-45BF-8458-13E76693B4F1}"/>
          </ac:grpSpMkLst>
        </pc:grpChg>
        <pc:picChg chg="add del mod">
          <ac:chgData name="Hiram Fleitas" userId="461d7124ec7a38ad" providerId="LiveId" clId="{C3DF72AE-141A-49D0-83B4-D821F2DB467D}" dt="2019-03-28T01:50:06.653" v="206" actId="478"/>
          <ac:picMkLst>
            <pc:docMk/>
            <pc:sldMk cId="3363124758" sldId="307"/>
            <ac:picMk id="8" creationId="{9598C26D-A21D-4CA1-9A40-B5D246D81C81}"/>
          </ac:picMkLst>
        </pc:picChg>
        <pc:picChg chg="add">
          <ac:chgData name="Hiram Fleitas" userId="461d7124ec7a38ad" providerId="LiveId" clId="{C3DF72AE-141A-49D0-83B4-D821F2DB467D}" dt="2019-03-28T01:50:07.716" v="207"/>
          <ac:picMkLst>
            <pc:docMk/>
            <pc:sldMk cId="3363124758" sldId="307"/>
            <ac:picMk id="9" creationId="{480FA06C-1C54-4B84-847D-5962A1DFBB21}"/>
          </ac:picMkLst>
        </pc:picChg>
      </pc:sldChg>
      <pc:sldChg chg="addSp delSp">
        <pc:chgData name="Hiram Fleitas" userId="461d7124ec7a38ad" providerId="LiveId" clId="{C3DF72AE-141A-49D0-83B4-D821F2DB467D}" dt="2019-03-28T01:52:15.878" v="235"/>
        <pc:sldMkLst>
          <pc:docMk/>
          <pc:sldMk cId="1969843946" sldId="324"/>
        </pc:sldMkLst>
        <pc:grpChg chg="del">
          <ac:chgData name="Hiram Fleitas" userId="461d7124ec7a38ad" providerId="LiveId" clId="{C3DF72AE-141A-49D0-83B4-D821F2DB467D}" dt="2019-03-28T01:52:15.316" v="234" actId="478"/>
          <ac:grpSpMkLst>
            <pc:docMk/>
            <pc:sldMk cId="1969843946" sldId="324"/>
            <ac:grpSpMk id="7" creationId="{037933AF-90B4-4EA6-9E71-E398E44BDD53}"/>
          </ac:grpSpMkLst>
        </pc:grpChg>
        <pc:picChg chg="add">
          <ac:chgData name="Hiram Fleitas" userId="461d7124ec7a38ad" providerId="LiveId" clId="{C3DF72AE-141A-49D0-83B4-D821F2DB467D}" dt="2019-03-28T01:52:15.878" v="235"/>
          <ac:picMkLst>
            <pc:docMk/>
            <pc:sldMk cId="1969843946" sldId="324"/>
            <ac:picMk id="10" creationId="{30823A3C-FED5-4F46-9A6F-04B450AFF452}"/>
          </ac:picMkLst>
        </pc:picChg>
      </pc:sldChg>
      <pc:sldChg chg="addSp delSp modSp addAnim delAnim modAnim">
        <pc:chgData name="Hiram Fleitas" userId="461d7124ec7a38ad" providerId="LiveId" clId="{C3DF72AE-141A-49D0-83B4-D821F2DB467D}" dt="2019-03-28T01:52:02.534" v="231"/>
        <pc:sldMkLst>
          <pc:docMk/>
          <pc:sldMk cId="1761106601" sldId="327"/>
        </pc:sldMkLst>
        <pc:spChg chg="del mod">
          <ac:chgData name="Hiram Fleitas" userId="461d7124ec7a38ad" providerId="LiveId" clId="{C3DF72AE-141A-49D0-83B4-D821F2DB467D}" dt="2019-03-28T01:25:53.805" v="74"/>
          <ac:spMkLst>
            <pc:docMk/>
            <pc:sldMk cId="1761106601" sldId="327"/>
            <ac:spMk id="7" creationId="{DECFD809-2679-436E-96BF-98C061304A72}"/>
          </ac:spMkLst>
        </pc:spChg>
        <pc:spChg chg="del mod">
          <ac:chgData name="Hiram Fleitas" userId="461d7124ec7a38ad" providerId="LiveId" clId="{C3DF72AE-141A-49D0-83B4-D821F2DB467D}" dt="2019-03-28T01:28:08.864" v="83"/>
          <ac:spMkLst>
            <pc:docMk/>
            <pc:sldMk cId="1761106601" sldId="327"/>
            <ac:spMk id="11" creationId="{FA5F4B15-7F9F-4855-A5E4-C921CC7B260C}"/>
          </ac:spMkLst>
        </pc:spChg>
        <pc:spChg chg="mod">
          <ac:chgData name="Hiram Fleitas" userId="461d7124ec7a38ad" providerId="LiveId" clId="{C3DF72AE-141A-49D0-83B4-D821F2DB467D}" dt="2019-03-28T01:30:09.604" v="88"/>
          <ac:spMkLst>
            <pc:docMk/>
            <pc:sldMk cId="1761106601" sldId="327"/>
            <ac:spMk id="18" creationId="{68CB7135-E830-4CB8-AE7D-4680579DB1EE}"/>
          </ac:spMkLst>
        </pc:spChg>
        <pc:spChg chg="mod">
          <ac:chgData name="Hiram Fleitas" userId="461d7124ec7a38ad" providerId="LiveId" clId="{C3DF72AE-141A-49D0-83B4-D821F2DB467D}" dt="2019-03-28T01:26:49.100" v="79" actId="207"/>
          <ac:spMkLst>
            <pc:docMk/>
            <pc:sldMk cId="1761106601" sldId="327"/>
            <ac:spMk id="20" creationId="{8B4E5366-9584-4092-82F6-032DAC57DDDB}"/>
          </ac:spMkLst>
        </pc:spChg>
        <pc:spChg chg="add del">
          <ac:chgData name="Hiram Fleitas" userId="461d7124ec7a38ad" providerId="LiveId" clId="{C3DF72AE-141A-49D0-83B4-D821F2DB467D}" dt="2019-03-28T01:26:00.685" v="75" actId="478"/>
          <ac:spMkLst>
            <pc:docMk/>
            <pc:sldMk cId="1761106601" sldId="327"/>
            <ac:spMk id="21" creationId="{6F4B82A0-25FC-4FBB-A48F-65681B371FEC}"/>
          </ac:spMkLst>
        </pc:spChg>
        <pc:spChg chg="add mod">
          <ac:chgData name="Hiram Fleitas" userId="461d7124ec7a38ad" providerId="LiveId" clId="{C3DF72AE-141A-49D0-83B4-D821F2DB467D}" dt="2019-03-28T01:26:17.790" v="77" actId="14100"/>
          <ac:spMkLst>
            <pc:docMk/>
            <pc:sldMk cId="1761106601" sldId="327"/>
            <ac:spMk id="22" creationId="{D032AC1B-02E4-43EC-8372-7895C13690DE}"/>
          </ac:spMkLst>
        </pc:spChg>
        <pc:spChg chg="add del">
          <ac:chgData name="Hiram Fleitas" userId="461d7124ec7a38ad" providerId="LiveId" clId="{C3DF72AE-141A-49D0-83B4-D821F2DB467D}" dt="2019-03-28T01:28:13.756" v="84" actId="478"/>
          <ac:spMkLst>
            <pc:docMk/>
            <pc:sldMk cId="1761106601" sldId="327"/>
            <ac:spMk id="23" creationId="{7506ECB6-461E-4AEF-B82F-AA046E32EE23}"/>
          </ac:spMkLst>
        </pc:spChg>
        <pc:spChg chg="add mod">
          <ac:chgData name="Hiram Fleitas" userId="461d7124ec7a38ad" providerId="LiveId" clId="{C3DF72AE-141A-49D0-83B4-D821F2DB467D}" dt="2019-03-28T01:28:46.575" v="86" actId="14100"/>
          <ac:spMkLst>
            <pc:docMk/>
            <pc:sldMk cId="1761106601" sldId="327"/>
            <ac:spMk id="24" creationId="{739E2D52-D4D3-43F7-B624-5E1C81A3B572}"/>
          </ac:spMkLst>
        </pc:spChg>
        <pc:grpChg chg="del">
          <ac:chgData name="Hiram Fleitas" userId="461d7124ec7a38ad" providerId="LiveId" clId="{C3DF72AE-141A-49D0-83B4-D821F2DB467D}" dt="2019-03-28T01:52:01.597" v="230" actId="478"/>
          <ac:grpSpMkLst>
            <pc:docMk/>
            <pc:sldMk cId="1761106601" sldId="327"/>
            <ac:grpSpMk id="9" creationId="{9DCF65ED-7529-4CEF-8F7B-37F17284CF4E}"/>
          </ac:grpSpMkLst>
        </pc:grpChg>
        <pc:grpChg chg="add">
          <ac:chgData name="Hiram Fleitas" userId="461d7124ec7a38ad" providerId="LiveId" clId="{C3DF72AE-141A-49D0-83B4-D821F2DB467D}" dt="2019-03-28T01:25:35.680" v="72"/>
          <ac:grpSpMkLst>
            <pc:docMk/>
            <pc:sldMk cId="1761106601" sldId="327"/>
            <ac:grpSpMk id="17" creationId="{78077DD3-CBCC-48DB-AE17-E4A724E2A55C}"/>
          </ac:grpSpMkLst>
        </pc:grpChg>
        <pc:picChg chg="del">
          <ac:chgData name="Hiram Fleitas" userId="461d7124ec7a38ad" providerId="LiveId" clId="{C3DF72AE-141A-49D0-83B4-D821F2DB467D}" dt="2019-03-28T01:23:44.758" v="57" actId="478"/>
          <ac:picMkLst>
            <pc:docMk/>
            <pc:sldMk cId="1761106601" sldId="327"/>
            <ac:picMk id="12" creationId="{E49C8EA9-0A47-46D0-AC4A-37723C0974CD}"/>
          </ac:picMkLst>
        </pc:picChg>
        <pc:picChg chg="add del ord">
          <ac:chgData name="Hiram Fleitas" userId="461d7124ec7a38ad" providerId="LiveId" clId="{C3DF72AE-141A-49D0-83B4-D821F2DB467D}" dt="2019-03-28T01:24:59.505" v="69" actId="478"/>
          <ac:picMkLst>
            <pc:docMk/>
            <pc:sldMk cId="1761106601" sldId="327"/>
            <ac:picMk id="14" creationId="{18241D0E-2B7D-4319-AF5B-FEC7FAA2B4E3}"/>
          </ac:picMkLst>
        </pc:picChg>
        <pc:picChg chg="add">
          <ac:chgData name="Hiram Fleitas" userId="461d7124ec7a38ad" providerId="LiveId" clId="{C3DF72AE-141A-49D0-83B4-D821F2DB467D}" dt="2019-03-28T01:23:41.024" v="56"/>
          <ac:picMkLst>
            <pc:docMk/>
            <pc:sldMk cId="1761106601" sldId="327"/>
            <ac:picMk id="15" creationId="{894463A1-28D0-4986-8D26-9BF4E5F0D2A5}"/>
          </ac:picMkLst>
        </pc:picChg>
        <pc:picChg chg="add del mod modCrop">
          <ac:chgData name="Hiram Fleitas" userId="461d7124ec7a38ad" providerId="LiveId" clId="{C3DF72AE-141A-49D0-83B4-D821F2DB467D}" dt="2019-03-28T01:31:55.342" v="100"/>
          <ac:picMkLst>
            <pc:docMk/>
            <pc:sldMk cId="1761106601" sldId="327"/>
            <ac:picMk id="16" creationId="{B1E60E9E-BCA3-40A8-8470-C3B572DE608A}"/>
          </ac:picMkLst>
        </pc:picChg>
        <pc:picChg chg="del mod modCrop">
          <ac:chgData name="Hiram Fleitas" userId="461d7124ec7a38ad" providerId="LiveId" clId="{C3DF72AE-141A-49D0-83B4-D821F2DB467D}" dt="2019-03-28T01:24:56.583" v="68"/>
          <ac:picMkLst>
            <pc:docMk/>
            <pc:sldMk cId="1761106601" sldId="327"/>
            <ac:picMk id="19" creationId="{BD4B7BE7-C6F9-408A-93EB-0C830EFA62CD}"/>
          </ac:picMkLst>
        </pc:picChg>
        <pc:picChg chg="add del mod">
          <ac:chgData name="Hiram Fleitas" userId="461d7124ec7a38ad" providerId="LiveId" clId="{C3DF72AE-141A-49D0-83B4-D821F2DB467D}" dt="2019-03-28T01:31:23.708" v="94" actId="478"/>
          <ac:picMkLst>
            <pc:docMk/>
            <pc:sldMk cId="1761106601" sldId="327"/>
            <ac:picMk id="25" creationId="{8C225A53-C25B-4824-946B-8C511244F6BA}"/>
          </ac:picMkLst>
        </pc:picChg>
        <pc:picChg chg="add">
          <ac:chgData name="Hiram Fleitas" userId="461d7124ec7a38ad" providerId="LiveId" clId="{C3DF72AE-141A-49D0-83B4-D821F2DB467D}" dt="2019-03-28T01:52:02.534" v="231"/>
          <ac:picMkLst>
            <pc:docMk/>
            <pc:sldMk cId="1761106601" sldId="327"/>
            <ac:picMk id="26" creationId="{D2687F50-6C20-4512-AA04-4D5577E9C746}"/>
          </ac:picMkLst>
        </pc:picChg>
      </pc:sldChg>
      <pc:sldChg chg="addSp delSp">
        <pc:chgData name="Hiram Fleitas" userId="461d7124ec7a38ad" providerId="LiveId" clId="{C3DF72AE-141A-49D0-83B4-D821F2DB467D}" dt="2019-03-28T15:25:10.143" v="348" actId="478"/>
        <pc:sldMkLst>
          <pc:docMk/>
          <pc:sldMk cId="3755768089" sldId="332"/>
        </pc:sldMkLst>
        <pc:spChg chg="add del">
          <ac:chgData name="Hiram Fleitas" userId="461d7124ec7a38ad" providerId="LiveId" clId="{C3DF72AE-141A-49D0-83B4-D821F2DB467D}" dt="2019-03-28T15:25:04.721" v="347" actId="478"/>
          <ac:spMkLst>
            <pc:docMk/>
            <pc:sldMk cId="3755768089" sldId="332"/>
            <ac:spMk id="28" creationId="{EB6C1B61-A0AA-40F1-8840-A62A7E42A769}"/>
          </ac:spMkLst>
        </pc:spChg>
        <pc:grpChg chg="del">
          <ac:chgData name="Hiram Fleitas" userId="461d7124ec7a38ad" providerId="LiveId" clId="{C3DF72AE-141A-49D0-83B4-D821F2DB467D}" dt="2019-03-28T01:52:08.159" v="232" actId="478"/>
          <ac:grpSpMkLst>
            <pc:docMk/>
            <pc:sldMk cId="3755768089" sldId="332"/>
            <ac:grpSpMk id="29" creationId="{9EAE5C35-A4F6-4FA1-99E4-778CD2E0253C}"/>
          </ac:grpSpMkLst>
        </pc:grpChg>
        <pc:picChg chg="add del">
          <ac:chgData name="Hiram Fleitas" userId="461d7124ec7a38ad" providerId="LiveId" clId="{C3DF72AE-141A-49D0-83B4-D821F2DB467D}" dt="2019-03-28T15:25:10.143" v="348" actId="478"/>
          <ac:picMkLst>
            <pc:docMk/>
            <pc:sldMk cId="3755768089" sldId="332"/>
            <ac:picMk id="25" creationId="{82D3E1F7-DB30-4552-ADAE-1388A2AFDD1C}"/>
          </ac:picMkLst>
        </pc:picChg>
      </pc:sldChg>
      <pc:sldChg chg="addSp delSp modSp">
        <pc:chgData name="Hiram Fleitas" userId="461d7124ec7a38ad" providerId="LiveId" clId="{C3DF72AE-141A-49D0-83B4-D821F2DB467D}" dt="2019-03-28T01:50:58.593" v="213"/>
        <pc:sldMkLst>
          <pc:docMk/>
          <pc:sldMk cId="3550446227" sldId="370"/>
        </pc:sldMkLst>
        <pc:spChg chg="add mod">
          <ac:chgData name="Hiram Fleitas" userId="461d7124ec7a38ad" providerId="LiveId" clId="{C3DF72AE-141A-49D0-83B4-D821F2DB467D}" dt="2019-03-28T01:04:49.694" v="40"/>
          <ac:spMkLst>
            <pc:docMk/>
            <pc:sldMk cId="3550446227" sldId="370"/>
            <ac:spMk id="15" creationId="{9FE78C64-7F18-4CC8-9E44-39E3B40A4738}"/>
          </ac:spMkLst>
        </pc:spChg>
        <pc:spChg chg="add mod">
          <ac:chgData name="Hiram Fleitas" userId="461d7124ec7a38ad" providerId="LiveId" clId="{C3DF72AE-141A-49D0-83B4-D821F2DB467D}" dt="2019-03-28T01:05:18.351" v="44" actId="14100"/>
          <ac:spMkLst>
            <pc:docMk/>
            <pc:sldMk cId="3550446227" sldId="370"/>
            <ac:spMk id="16" creationId="{DB238B42-6F5B-4A82-8FFC-DF11E142E619}"/>
          </ac:spMkLst>
        </pc:spChg>
        <pc:spChg chg="mod">
          <ac:chgData name="Hiram Fleitas" userId="461d7124ec7a38ad" providerId="LiveId" clId="{C3DF72AE-141A-49D0-83B4-D821F2DB467D}" dt="2019-03-28T01:03:11.954" v="28" actId="14100"/>
          <ac:spMkLst>
            <pc:docMk/>
            <pc:sldMk cId="3550446227" sldId="370"/>
            <ac:spMk id="41" creationId="{68EE56C9-6ACF-4D0B-AD38-4C31698D7C49}"/>
          </ac:spMkLst>
        </pc:spChg>
        <pc:spChg chg="mod">
          <ac:chgData name="Hiram Fleitas" userId="461d7124ec7a38ad" providerId="LiveId" clId="{C3DF72AE-141A-49D0-83B4-D821F2DB467D}" dt="2019-03-28T01:03:06.614" v="26" actId="14100"/>
          <ac:spMkLst>
            <pc:docMk/>
            <pc:sldMk cId="3550446227" sldId="370"/>
            <ac:spMk id="42" creationId="{2DBA0FFF-F002-4769-9A08-472C00E4C3A7}"/>
          </ac:spMkLst>
        </pc:spChg>
        <pc:spChg chg="mod">
          <ac:chgData name="Hiram Fleitas" userId="461d7124ec7a38ad" providerId="LiveId" clId="{C3DF72AE-141A-49D0-83B4-D821F2DB467D}" dt="2019-03-28T01:03:19.299" v="30" actId="14100"/>
          <ac:spMkLst>
            <pc:docMk/>
            <pc:sldMk cId="3550446227" sldId="370"/>
            <ac:spMk id="43" creationId="{1986E60A-9502-46E0-9731-94A6FE30FCB6}"/>
          </ac:spMkLst>
        </pc:spChg>
        <pc:spChg chg="mod">
          <ac:chgData name="Hiram Fleitas" userId="461d7124ec7a38ad" providerId="LiveId" clId="{C3DF72AE-141A-49D0-83B4-D821F2DB467D}" dt="2019-03-28T01:03:25.615" v="32" actId="14100"/>
          <ac:spMkLst>
            <pc:docMk/>
            <pc:sldMk cId="3550446227" sldId="370"/>
            <ac:spMk id="44" creationId="{4DB4ADF7-406D-48B9-AFFA-C4616A8BCBAE}"/>
          </ac:spMkLst>
        </pc:spChg>
        <pc:spChg chg="mod">
          <ac:chgData name="Hiram Fleitas" userId="461d7124ec7a38ad" providerId="LiveId" clId="{C3DF72AE-141A-49D0-83B4-D821F2DB467D}" dt="2019-03-28T01:04:00.784" v="36"/>
          <ac:spMkLst>
            <pc:docMk/>
            <pc:sldMk cId="3550446227" sldId="370"/>
            <ac:spMk id="45" creationId="{953123F1-5378-473E-A623-7A558FA8F248}"/>
          </ac:spMkLst>
        </pc:spChg>
        <pc:spChg chg="mod">
          <ac:chgData name="Hiram Fleitas" userId="461d7124ec7a38ad" providerId="LiveId" clId="{C3DF72AE-141A-49D0-83B4-D821F2DB467D}" dt="2019-03-28T01:03:37.604" v="35" actId="14100"/>
          <ac:spMkLst>
            <pc:docMk/>
            <pc:sldMk cId="3550446227" sldId="370"/>
            <ac:spMk id="46" creationId="{42BEA1A9-69FE-489C-A348-F7573C6A2CCF}"/>
          </ac:spMkLst>
        </pc:spChg>
        <pc:grpChg chg="del">
          <ac:chgData name="Hiram Fleitas" userId="461d7124ec7a38ad" providerId="LiveId" clId="{C3DF72AE-141A-49D0-83B4-D821F2DB467D}" dt="2019-03-28T01:50:57.374" v="212" actId="478"/>
          <ac:grpSpMkLst>
            <pc:docMk/>
            <pc:sldMk cId="3550446227" sldId="370"/>
            <ac:grpSpMk id="11" creationId="{7E5EE838-8181-44B6-9C08-7C9C7C8EB40B}"/>
          </ac:grpSpMkLst>
        </pc:grpChg>
        <pc:picChg chg="add del">
          <ac:chgData name="Hiram Fleitas" userId="461d7124ec7a38ad" providerId="LiveId" clId="{C3DF72AE-141A-49D0-83B4-D821F2DB467D}" dt="2019-03-28T00:58:58.988" v="2"/>
          <ac:picMkLst>
            <pc:docMk/>
            <pc:sldMk cId="3550446227" sldId="370"/>
            <ac:picMk id="2" creationId="{A5ED819A-0F70-42CF-8C0D-0A7316675F3B}"/>
          </ac:picMkLst>
        </pc:picChg>
        <pc:picChg chg="add ord">
          <ac:chgData name="Hiram Fleitas" userId="461d7124ec7a38ad" providerId="LiveId" clId="{C3DF72AE-141A-49D0-83B4-D821F2DB467D}" dt="2019-03-28T01:00:49.987" v="7" actId="167"/>
          <ac:picMkLst>
            <pc:docMk/>
            <pc:sldMk cId="3550446227" sldId="370"/>
            <ac:picMk id="3" creationId="{B436C35D-D0BD-438A-AC31-A77278AB1E97}"/>
          </ac:picMkLst>
        </pc:picChg>
        <pc:picChg chg="add">
          <ac:chgData name="Hiram Fleitas" userId="461d7124ec7a38ad" providerId="LiveId" clId="{C3DF72AE-141A-49D0-83B4-D821F2DB467D}" dt="2019-03-28T01:50:58.593" v="213"/>
          <ac:picMkLst>
            <pc:docMk/>
            <pc:sldMk cId="3550446227" sldId="370"/>
            <ac:picMk id="17" creationId="{47F54F54-0A1D-4B09-B203-15FC80B6A4DA}"/>
          </ac:picMkLst>
        </pc:picChg>
        <pc:picChg chg="add del">
          <ac:chgData name="Hiram Fleitas" userId="461d7124ec7a38ad" providerId="LiveId" clId="{C3DF72AE-141A-49D0-83B4-D821F2DB467D}" dt="2019-03-28T01:00:40.091" v="4" actId="478"/>
          <ac:picMkLst>
            <pc:docMk/>
            <pc:sldMk cId="3550446227" sldId="370"/>
            <ac:picMk id="34" creationId="{C75510AB-B451-4DCD-8D2E-C2BF735FA73B}"/>
          </ac:picMkLst>
        </pc:picChg>
      </pc:sldChg>
      <pc:sldChg chg="addSp delSp">
        <pc:chgData name="Hiram Fleitas" userId="461d7124ec7a38ad" providerId="LiveId" clId="{C3DF72AE-141A-49D0-83B4-D821F2DB467D}" dt="2019-03-28T01:51:06.827" v="215"/>
        <pc:sldMkLst>
          <pc:docMk/>
          <pc:sldMk cId="3158239655" sldId="371"/>
        </pc:sldMkLst>
        <pc:grpChg chg="del">
          <ac:chgData name="Hiram Fleitas" userId="461d7124ec7a38ad" providerId="LiveId" clId="{C3DF72AE-141A-49D0-83B4-D821F2DB467D}" dt="2019-03-28T01:51:05.936" v="214" actId="478"/>
          <ac:grpSpMkLst>
            <pc:docMk/>
            <pc:sldMk cId="3158239655" sldId="371"/>
            <ac:grpSpMk id="26" creationId="{A06B3914-3AEF-4266-8D2C-CFF0525B93A2}"/>
          </ac:grpSpMkLst>
        </pc:grpChg>
        <pc:picChg chg="add">
          <ac:chgData name="Hiram Fleitas" userId="461d7124ec7a38ad" providerId="LiveId" clId="{C3DF72AE-141A-49D0-83B4-D821F2DB467D}" dt="2019-03-28T01:51:06.827" v="215"/>
          <ac:picMkLst>
            <pc:docMk/>
            <pc:sldMk cId="3158239655" sldId="371"/>
            <ac:picMk id="30" creationId="{5BA83E43-7837-4456-AB2F-15F8E64D9722}"/>
          </ac:picMkLst>
        </pc:picChg>
      </pc:sldChg>
      <pc:sldChg chg="addSp delSp">
        <pc:chgData name="Hiram Fleitas" userId="461d7124ec7a38ad" providerId="LiveId" clId="{C3DF72AE-141A-49D0-83B4-D821F2DB467D}" dt="2019-03-28T01:53:38.369" v="252"/>
        <pc:sldMkLst>
          <pc:docMk/>
          <pc:sldMk cId="4091502606" sldId="529"/>
        </pc:sldMkLst>
        <pc:grpChg chg="del">
          <ac:chgData name="Hiram Fleitas" userId="461d7124ec7a38ad" providerId="LiveId" clId="{C3DF72AE-141A-49D0-83B4-D821F2DB467D}" dt="2019-03-28T01:53:37.447" v="251" actId="478"/>
          <ac:grpSpMkLst>
            <pc:docMk/>
            <pc:sldMk cId="4091502606" sldId="529"/>
            <ac:grpSpMk id="21" creationId="{764E240E-5C5D-4708-B027-A5B7D0136E62}"/>
          </ac:grpSpMkLst>
        </pc:grpChg>
        <pc:picChg chg="add">
          <ac:chgData name="Hiram Fleitas" userId="461d7124ec7a38ad" providerId="LiveId" clId="{C3DF72AE-141A-49D0-83B4-D821F2DB467D}" dt="2019-03-28T01:53:38.369" v="252"/>
          <ac:picMkLst>
            <pc:docMk/>
            <pc:sldMk cId="4091502606" sldId="529"/>
            <ac:picMk id="11" creationId="{65F2397F-1D9E-4FA1-8F27-03D94E2A6827}"/>
          </ac:picMkLst>
        </pc:picChg>
      </pc:sldChg>
      <pc:sldChg chg="addSp delSp">
        <pc:chgData name="Hiram Fleitas" userId="461d7124ec7a38ad" providerId="LiveId" clId="{C3DF72AE-141A-49D0-83B4-D821F2DB467D}" dt="2019-03-28T01:51:22.686" v="219"/>
        <pc:sldMkLst>
          <pc:docMk/>
          <pc:sldMk cId="2390529645" sldId="592"/>
        </pc:sldMkLst>
        <pc:grpChg chg="del">
          <ac:chgData name="Hiram Fleitas" userId="461d7124ec7a38ad" providerId="LiveId" clId="{C3DF72AE-141A-49D0-83B4-D821F2DB467D}" dt="2019-03-28T01:51:21.795" v="218" actId="478"/>
          <ac:grpSpMkLst>
            <pc:docMk/>
            <pc:sldMk cId="2390529645" sldId="592"/>
            <ac:grpSpMk id="27" creationId="{E17A27E3-B025-41C1-9972-E87A28B708E7}"/>
          </ac:grpSpMkLst>
        </pc:grpChg>
        <pc:picChg chg="add">
          <ac:chgData name="Hiram Fleitas" userId="461d7124ec7a38ad" providerId="LiveId" clId="{C3DF72AE-141A-49D0-83B4-D821F2DB467D}" dt="2019-03-28T01:51:22.686" v="219"/>
          <ac:picMkLst>
            <pc:docMk/>
            <pc:sldMk cId="2390529645" sldId="592"/>
            <ac:picMk id="15" creationId="{31C3EE62-5132-4E96-BAC4-FDECB31984E9}"/>
          </ac:picMkLst>
        </pc:picChg>
      </pc:sldChg>
      <pc:sldChg chg="addSp delSp modSp">
        <pc:chgData name="Hiram Fleitas" userId="461d7124ec7a38ad" providerId="LiveId" clId="{C3DF72AE-141A-49D0-83B4-D821F2DB467D}" dt="2019-03-28T01:52:33.366" v="238"/>
        <pc:sldMkLst>
          <pc:docMk/>
          <pc:sldMk cId="4172075436" sldId="594"/>
        </pc:sldMkLst>
        <pc:grpChg chg="del">
          <ac:chgData name="Hiram Fleitas" userId="461d7124ec7a38ad" providerId="LiveId" clId="{C3DF72AE-141A-49D0-83B4-D821F2DB467D}" dt="2019-03-28T01:52:32.257" v="237" actId="478"/>
          <ac:grpSpMkLst>
            <pc:docMk/>
            <pc:sldMk cId="4172075436" sldId="594"/>
            <ac:grpSpMk id="9" creationId="{103099C3-B8D2-4A28-8F7D-7932607BA390}"/>
          </ac:grpSpMkLst>
        </pc:grpChg>
        <pc:picChg chg="add">
          <ac:chgData name="Hiram Fleitas" userId="461d7124ec7a38ad" providerId="LiveId" clId="{C3DF72AE-141A-49D0-83B4-D821F2DB467D}" dt="2019-03-28T01:52:33.366" v="238"/>
          <ac:picMkLst>
            <pc:docMk/>
            <pc:sldMk cId="4172075436" sldId="594"/>
            <ac:picMk id="11" creationId="{D21BBCB7-DFB4-47B4-84A4-AC641BDD36BD}"/>
          </ac:picMkLst>
        </pc:picChg>
        <pc:picChg chg="ord">
          <ac:chgData name="Hiram Fleitas" userId="461d7124ec7a38ad" providerId="LiveId" clId="{C3DF72AE-141A-49D0-83B4-D821F2DB467D}" dt="2019-03-28T01:52:28.788" v="236" actId="167"/>
          <ac:picMkLst>
            <pc:docMk/>
            <pc:sldMk cId="4172075436" sldId="594"/>
            <ac:picMk id="26" creationId="{47745DC3-FA21-4F25-B87F-81891E3E5837}"/>
          </ac:picMkLst>
        </pc:picChg>
      </pc:sldChg>
      <pc:sldChg chg="addSp delSp">
        <pc:chgData name="Hiram Fleitas" userId="461d7124ec7a38ad" providerId="LiveId" clId="{C3DF72AE-141A-49D0-83B4-D821F2DB467D}" dt="2019-03-28T01:51:29.297" v="221"/>
        <pc:sldMkLst>
          <pc:docMk/>
          <pc:sldMk cId="448541041" sldId="601"/>
        </pc:sldMkLst>
        <pc:grpChg chg="del">
          <ac:chgData name="Hiram Fleitas" userId="461d7124ec7a38ad" providerId="LiveId" clId="{C3DF72AE-141A-49D0-83B4-D821F2DB467D}" dt="2019-03-28T01:51:28.297" v="220" actId="478"/>
          <ac:grpSpMkLst>
            <pc:docMk/>
            <pc:sldMk cId="448541041" sldId="601"/>
            <ac:grpSpMk id="9" creationId="{FEE8325E-D5D8-4983-A1DA-BCC8CC926D48}"/>
          </ac:grpSpMkLst>
        </pc:grpChg>
        <pc:picChg chg="add">
          <ac:chgData name="Hiram Fleitas" userId="461d7124ec7a38ad" providerId="LiveId" clId="{C3DF72AE-141A-49D0-83B4-D821F2DB467D}" dt="2019-03-28T01:51:29.297" v="221"/>
          <ac:picMkLst>
            <pc:docMk/>
            <pc:sldMk cId="448541041" sldId="601"/>
            <ac:picMk id="13" creationId="{9B63A4C3-3498-4431-9A92-E50FE3BAD6E8}"/>
          </ac:picMkLst>
        </pc:picChg>
      </pc:sldChg>
      <pc:sldChg chg="addSp delSp">
        <pc:chgData name="Hiram Fleitas" userId="461d7124ec7a38ad" providerId="LiveId" clId="{C3DF72AE-141A-49D0-83B4-D821F2DB467D}" dt="2019-03-28T01:51:36.531" v="223"/>
        <pc:sldMkLst>
          <pc:docMk/>
          <pc:sldMk cId="3030542895" sldId="602"/>
        </pc:sldMkLst>
        <pc:grpChg chg="del">
          <ac:chgData name="Hiram Fleitas" userId="461d7124ec7a38ad" providerId="LiveId" clId="{C3DF72AE-141A-49D0-83B4-D821F2DB467D}" dt="2019-03-28T01:51:35.703" v="222" actId="478"/>
          <ac:grpSpMkLst>
            <pc:docMk/>
            <pc:sldMk cId="3030542895" sldId="602"/>
            <ac:grpSpMk id="9" creationId="{FEE8325E-D5D8-4983-A1DA-BCC8CC926D48}"/>
          </ac:grpSpMkLst>
        </pc:grpChg>
        <pc:picChg chg="add">
          <ac:chgData name="Hiram Fleitas" userId="461d7124ec7a38ad" providerId="LiveId" clId="{C3DF72AE-141A-49D0-83B4-D821F2DB467D}" dt="2019-03-28T01:51:36.531" v="223"/>
          <ac:picMkLst>
            <pc:docMk/>
            <pc:sldMk cId="3030542895" sldId="602"/>
            <ac:picMk id="13" creationId="{A85DB675-FF07-4C3B-89B2-9ADF159C9EF4}"/>
          </ac:picMkLst>
        </pc:picChg>
      </pc:sldChg>
      <pc:sldChg chg="addSp delSp modSp modNotesTx">
        <pc:chgData name="Hiram Fleitas" userId="461d7124ec7a38ad" providerId="LiveId" clId="{C3DF72AE-141A-49D0-83B4-D821F2DB467D}" dt="2019-03-28T20:50:52.177" v="423" actId="1076"/>
        <pc:sldMkLst>
          <pc:docMk/>
          <pc:sldMk cId="1221746463" sldId="609"/>
        </pc:sldMkLst>
        <pc:spChg chg="add del mod">
          <ac:chgData name="Hiram Fleitas" userId="461d7124ec7a38ad" providerId="LiveId" clId="{C3DF72AE-141A-49D0-83B4-D821F2DB467D}" dt="2019-03-28T20:49:49.287" v="404" actId="478"/>
          <ac:spMkLst>
            <pc:docMk/>
            <pc:sldMk cId="1221746463" sldId="609"/>
            <ac:spMk id="19" creationId="{1A7DD398-38E5-4A1E-98D7-3E382B38D26E}"/>
          </ac:spMkLst>
        </pc:spChg>
        <pc:grpChg chg="add del">
          <ac:chgData name="Hiram Fleitas" userId="461d7124ec7a38ad" providerId="LiveId" clId="{C3DF72AE-141A-49D0-83B4-D821F2DB467D}" dt="2019-03-28T01:46:11.945" v="172" actId="478"/>
          <ac:grpSpMkLst>
            <pc:docMk/>
            <pc:sldMk cId="1221746463" sldId="609"/>
            <ac:grpSpMk id="9" creationId="{FEE8325E-D5D8-4983-A1DA-BCC8CC926D48}"/>
          </ac:grpSpMkLst>
        </pc:grpChg>
        <pc:picChg chg="add del">
          <ac:chgData name="Hiram Fleitas" userId="461d7124ec7a38ad" providerId="LiveId" clId="{C3DF72AE-141A-49D0-83B4-D821F2DB467D}" dt="2019-03-28T01:38:35.352" v="131" actId="478"/>
          <ac:picMkLst>
            <pc:docMk/>
            <pc:sldMk cId="1221746463" sldId="609"/>
            <ac:picMk id="2" creationId="{827F6BB9-389D-456D-BCEC-F10548BC6FEF}"/>
          </ac:picMkLst>
        </pc:picChg>
        <pc:picChg chg="add del">
          <ac:chgData name="Hiram Fleitas" userId="461d7124ec7a38ad" providerId="LiveId" clId="{C3DF72AE-141A-49D0-83B4-D821F2DB467D}" dt="2019-03-28T01:39:08.067" v="133" actId="478"/>
          <ac:picMkLst>
            <pc:docMk/>
            <pc:sldMk cId="1221746463" sldId="609"/>
            <ac:picMk id="3" creationId="{2042A319-89D5-4BCF-A564-08EF65522D93}"/>
          </ac:picMkLst>
        </pc:picChg>
        <pc:picChg chg="add del">
          <ac:chgData name="Hiram Fleitas" userId="461d7124ec7a38ad" providerId="LiveId" clId="{C3DF72AE-141A-49D0-83B4-D821F2DB467D}" dt="2019-03-28T01:39:47.888" v="135"/>
          <ac:picMkLst>
            <pc:docMk/>
            <pc:sldMk cId="1221746463" sldId="609"/>
            <ac:picMk id="4" creationId="{E0EA51F7-9B6E-4AC5-B509-4C3D593D8F80}"/>
          </ac:picMkLst>
        </pc:picChg>
        <pc:picChg chg="add del">
          <ac:chgData name="Hiram Fleitas" userId="461d7124ec7a38ad" providerId="LiveId" clId="{C3DF72AE-141A-49D0-83B4-D821F2DB467D}" dt="2019-03-28T01:40:02.511" v="137"/>
          <ac:picMkLst>
            <pc:docMk/>
            <pc:sldMk cId="1221746463" sldId="609"/>
            <ac:picMk id="5" creationId="{FC269A20-DA29-4A9A-BD94-5464326F68E4}"/>
          </ac:picMkLst>
        </pc:picChg>
        <pc:picChg chg="add del">
          <ac:chgData name="Hiram Fleitas" userId="461d7124ec7a38ad" providerId="LiveId" clId="{C3DF72AE-141A-49D0-83B4-D821F2DB467D}" dt="2019-03-28T01:40:19.235" v="139" actId="478"/>
          <ac:picMkLst>
            <pc:docMk/>
            <pc:sldMk cId="1221746463" sldId="609"/>
            <ac:picMk id="6" creationId="{38F22AFC-812B-4CAE-B7D2-4281536304A0}"/>
          </ac:picMkLst>
        </pc:picChg>
        <pc:picChg chg="add del">
          <ac:chgData name="Hiram Fleitas" userId="461d7124ec7a38ad" providerId="LiveId" clId="{C3DF72AE-141A-49D0-83B4-D821F2DB467D}" dt="2019-03-28T01:40:36.997" v="141"/>
          <ac:picMkLst>
            <pc:docMk/>
            <pc:sldMk cId="1221746463" sldId="609"/>
            <ac:picMk id="7" creationId="{0D6BC035-969A-4B8A-BE5C-84C97286D29E}"/>
          </ac:picMkLst>
        </pc:picChg>
        <pc:picChg chg="add del ord">
          <ac:chgData name="Hiram Fleitas" userId="461d7124ec7a38ad" providerId="LiveId" clId="{C3DF72AE-141A-49D0-83B4-D821F2DB467D}" dt="2019-03-28T20:39:52.273" v="367" actId="478"/>
          <ac:picMkLst>
            <pc:docMk/>
            <pc:sldMk cId="1221746463" sldId="609"/>
            <ac:picMk id="12" creationId="{E3C03C21-ED22-4B42-B372-7DEAC788A8EF}"/>
          </ac:picMkLst>
        </pc:picChg>
        <pc:picChg chg="add del mod">
          <ac:chgData name="Hiram Fleitas" userId="461d7124ec7a38ad" providerId="LiveId" clId="{C3DF72AE-141A-49D0-83B4-D821F2DB467D}" dt="2019-03-28T01:46:08.664" v="171" actId="478"/>
          <ac:picMkLst>
            <pc:docMk/>
            <pc:sldMk cId="1221746463" sldId="609"/>
            <ac:picMk id="13" creationId="{33B24A93-FC6D-49FD-A1F8-784C59E268D4}"/>
          </ac:picMkLst>
        </pc:picChg>
        <pc:picChg chg="add ord">
          <ac:chgData name="Hiram Fleitas" userId="461d7124ec7a38ad" providerId="LiveId" clId="{C3DF72AE-141A-49D0-83B4-D821F2DB467D}" dt="2019-03-28T20:39:55.886" v="369" actId="167"/>
          <ac:picMkLst>
            <pc:docMk/>
            <pc:sldMk cId="1221746463" sldId="609"/>
            <ac:picMk id="14" creationId="{3E93BB79-C0D4-485A-ADCD-232D23A28852}"/>
          </ac:picMkLst>
        </pc:picChg>
        <pc:picChg chg="add del mod">
          <ac:chgData name="Hiram Fleitas" userId="461d7124ec7a38ad" providerId="LiveId" clId="{C3DF72AE-141A-49D0-83B4-D821F2DB467D}" dt="2019-03-28T01:47:13.413" v="183" actId="478"/>
          <ac:picMkLst>
            <pc:docMk/>
            <pc:sldMk cId="1221746463" sldId="609"/>
            <ac:picMk id="15" creationId="{D31D9B2A-165C-4890-835F-07BE1E6FDB71}"/>
          </ac:picMkLst>
        </pc:picChg>
        <pc:picChg chg="add del">
          <ac:chgData name="Hiram Fleitas" userId="461d7124ec7a38ad" providerId="LiveId" clId="{C3DF72AE-141A-49D0-83B4-D821F2DB467D}" dt="2019-03-28T01:53:45.009" v="253" actId="478"/>
          <ac:picMkLst>
            <pc:docMk/>
            <pc:sldMk cId="1221746463" sldId="609"/>
            <ac:picMk id="16" creationId="{B290F06E-4578-4263-9BDB-A7590BE2FF75}"/>
          </ac:picMkLst>
        </pc:picChg>
        <pc:picChg chg="add">
          <ac:chgData name="Hiram Fleitas" userId="461d7124ec7a38ad" providerId="LiveId" clId="{C3DF72AE-141A-49D0-83B4-D821F2DB467D}" dt="2019-03-28T01:53:45.900" v="254"/>
          <ac:picMkLst>
            <pc:docMk/>
            <pc:sldMk cId="1221746463" sldId="609"/>
            <ac:picMk id="17" creationId="{95251286-BA74-4323-8B70-EADD5FDCCC42}"/>
          </ac:picMkLst>
        </pc:picChg>
        <pc:picChg chg="add mod">
          <ac:chgData name="Hiram Fleitas" userId="461d7124ec7a38ad" providerId="LiveId" clId="{C3DF72AE-141A-49D0-83B4-D821F2DB467D}" dt="2019-03-28T20:50:52.177" v="423" actId="1076"/>
          <ac:picMkLst>
            <pc:docMk/>
            <pc:sldMk cId="1221746463" sldId="609"/>
            <ac:picMk id="20" creationId="{48ADB4FC-A9FF-4D2E-AF4C-242A60B4E528}"/>
          </ac:picMkLst>
        </pc:picChg>
        <pc:picChg chg="del">
          <ac:chgData name="Hiram Fleitas" userId="461d7124ec7a38ad" providerId="LiveId" clId="{C3DF72AE-141A-49D0-83B4-D821F2DB467D}" dt="2019-03-28T01:38:29.769" v="129" actId="478"/>
          <ac:picMkLst>
            <pc:docMk/>
            <pc:sldMk cId="1221746463" sldId="609"/>
            <ac:picMk id="22" creationId="{A4CE5D7F-5CC1-446E-A565-4F20EF4F4270}"/>
          </ac:picMkLst>
        </pc:picChg>
      </pc:sldChg>
      <pc:sldChg chg="addSp delSp modSp">
        <pc:chgData name="Hiram Fleitas" userId="461d7124ec7a38ad" providerId="LiveId" clId="{C3DF72AE-141A-49D0-83B4-D821F2DB467D}" dt="2019-03-28T20:40:01.215" v="370" actId="167"/>
        <pc:sldMkLst>
          <pc:docMk/>
          <pc:sldMk cId="668275305" sldId="611"/>
        </pc:sldMkLst>
        <pc:grpChg chg="del">
          <ac:chgData name="Hiram Fleitas" userId="461d7124ec7a38ad" providerId="LiveId" clId="{C3DF72AE-141A-49D0-83B4-D821F2DB467D}" dt="2019-03-28T01:53:55.540" v="255" actId="478"/>
          <ac:grpSpMkLst>
            <pc:docMk/>
            <pc:sldMk cId="668275305" sldId="611"/>
            <ac:grpSpMk id="9" creationId="{FEE8325E-D5D8-4983-A1DA-BCC8CC926D48}"/>
          </ac:grpSpMkLst>
        </pc:grpChg>
        <pc:picChg chg="del">
          <ac:chgData name="Hiram Fleitas" userId="461d7124ec7a38ad" providerId="LiveId" clId="{C3DF72AE-141A-49D0-83B4-D821F2DB467D}" dt="2019-03-28T01:41:57.569" v="144" actId="478"/>
          <ac:picMkLst>
            <pc:docMk/>
            <pc:sldMk cId="668275305" sldId="611"/>
            <ac:picMk id="2" creationId="{2387D461-16D4-4732-9A51-BC6C75A56AA3}"/>
          </ac:picMkLst>
        </pc:picChg>
        <pc:picChg chg="add del ord">
          <ac:chgData name="Hiram Fleitas" userId="461d7124ec7a38ad" providerId="LiveId" clId="{C3DF72AE-141A-49D0-83B4-D821F2DB467D}" dt="2019-03-28T20:38:07.700" v="349" actId="478"/>
          <ac:picMkLst>
            <pc:docMk/>
            <pc:sldMk cId="668275305" sldId="611"/>
            <ac:picMk id="3" creationId="{1581E792-F1A3-46A2-AD1E-050D65452EE3}"/>
          </ac:picMkLst>
        </pc:picChg>
        <pc:picChg chg="add del">
          <ac:chgData name="Hiram Fleitas" userId="461d7124ec7a38ad" providerId="LiveId" clId="{C3DF72AE-141A-49D0-83B4-D821F2DB467D}" dt="2019-03-28T20:38:17.725" v="351" actId="478"/>
          <ac:picMkLst>
            <pc:docMk/>
            <pc:sldMk cId="668275305" sldId="611"/>
            <ac:picMk id="4" creationId="{23B58ABA-0119-4E6F-8DD0-A14DFBF472EB}"/>
          </ac:picMkLst>
        </pc:picChg>
        <pc:picChg chg="add del">
          <ac:chgData name="Hiram Fleitas" userId="461d7124ec7a38ad" providerId="LiveId" clId="{C3DF72AE-141A-49D0-83B4-D821F2DB467D}" dt="2019-03-28T20:38:28.059" v="353" actId="478"/>
          <ac:picMkLst>
            <pc:docMk/>
            <pc:sldMk cId="668275305" sldId="611"/>
            <ac:picMk id="5" creationId="{D1884E04-9D2A-4257-80D3-FB26667E8B19}"/>
          </ac:picMkLst>
        </pc:picChg>
        <pc:picChg chg="add del">
          <ac:chgData name="Hiram Fleitas" userId="461d7124ec7a38ad" providerId="LiveId" clId="{C3DF72AE-141A-49D0-83B4-D821F2DB467D}" dt="2019-03-28T20:38:36.625" v="355" actId="478"/>
          <ac:picMkLst>
            <pc:docMk/>
            <pc:sldMk cId="668275305" sldId="611"/>
            <ac:picMk id="6" creationId="{35DBDDD5-1258-4E0D-A17D-0F021BCABCCB}"/>
          </ac:picMkLst>
        </pc:picChg>
        <pc:picChg chg="add del">
          <ac:chgData name="Hiram Fleitas" userId="461d7124ec7a38ad" providerId="LiveId" clId="{C3DF72AE-141A-49D0-83B4-D821F2DB467D}" dt="2019-03-28T20:38:45.917" v="357" actId="478"/>
          <ac:picMkLst>
            <pc:docMk/>
            <pc:sldMk cId="668275305" sldId="611"/>
            <ac:picMk id="7" creationId="{C79F7C92-2C7A-4E71-8A1D-5B5706A8E853}"/>
          </ac:picMkLst>
        </pc:picChg>
        <pc:picChg chg="add">
          <ac:chgData name="Hiram Fleitas" userId="461d7124ec7a38ad" providerId="LiveId" clId="{C3DF72AE-141A-49D0-83B4-D821F2DB467D}" dt="2019-03-28T01:53:56.618" v="256"/>
          <ac:picMkLst>
            <pc:docMk/>
            <pc:sldMk cId="668275305" sldId="611"/>
            <ac:picMk id="12" creationId="{218BADB7-B8D9-4FC5-8808-D11356A04E40}"/>
          </ac:picMkLst>
        </pc:picChg>
        <pc:picChg chg="add del">
          <ac:chgData name="Hiram Fleitas" userId="461d7124ec7a38ad" providerId="LiveId" clId="{C3DF72AE-141A-49D0-83B4-D821F2DB467D}" dt="2019-03-28T20:38:53.406" v="359" actId="478"/>
          <ac:picMkLst>
            <pc:docMk/>
            <pc:sldMk cId="668275305" sldId="611"/>
            <ac:picMk id="13" creationId="{8C0070D3-C3B3-4D0F-A53C-9BFC075D9BE9}"/>
          </ac:picMkLst>
        </pc:picChg>
        <pc:picChg chg="add del">
          <ac:chgData name="Hiram Fleitas" userId="461d7124ec7a38ad" providerId="LiveId" clId="{C3DF72AE-141A-49D0-83B4-D821F2DB467D}" dt="2019-03-28T20:39:04.915" v="361" actId="478"/>
          <ac:picMkLst>
            <pc:docMk/>
            <pc:sldMk cId="668275305" sldId="611"/>
            <ac:picMk id="14" creationId="{835F6772-8732-4069-9CA5-17C49F193E06}"/>
          </ac:picMkLst>
        </pc:picChg>
        <pc:picChg chg="add del">
          <ac:chgData name="Hiram Fleitas" userId="461d7124ec7a38ad" providerId="LiveId" clId="{C3DF72AE-141A-49D0-83B4-D821F2DB467D}" dt="2019-03-28T20:39:14.839" v="363" actId="478"/>
          <ac:picMkLst>
            <pc:docMk/>
            <pc:sldMk cId="668275305" sldId="611"/>
            <ac:picMk id="15" creationId="{F4F56212-D570-4E15-96DC-06B2EE4EB03C}"/>
          </ac:picMkLst>
        </pc:picChg>
        <pc:picChg chg="add del">
          <ac:chgData name="Hiram Fleitas" userId="461d7124ec7a38ad" providerId="LiveId" clId="{C3DF72AE-141A-49D0-83B4-D821F2DB467D}" dt="2019-03-28T20:39:24.503" v="365" actId="478"/>
          <ac:picMkLst>
            <pc:docMk/>
            <pc:sldMk cId="668275305" sldId="611"/>
            <ac:picMk id="16" creationId="{916DA32F-1543-42B5-B0F9-BC90420B07D4}"/>
          </ac:picMkLst>
        </pc:picChg>
        <pc:picChg chg="add ord">
          <ac:chgData name="Hiram Fleitas" userId="461d7124ec7a38ad" providerId="LiveId" clId="{C3DF72AE-141A-49D0-83B4-D821F2DB467D}" dt="2019-03-28T20:40:01.215" v="370" actId="167"/>
          <ac:picMkLst>
            <pc:docMk/>
            <pc:sldMk cId="668275305" sldId="611"/>
            <ac:picMk id="17" creationId="{3DD2CB39-79AD-4CA6-9D04-5C136E5CB69A}"/>
          </ac:picMkLst>
        </pc:picChg>
      </pc:sldChg>
      <pc:sldChg chg="addSp delSp modSp">
        <pc:chgData name="Hiram Fleitas" userId="461d7124ec7a38ad" providerId="LiveId" clId="{C3DF72AE-141A-49D0-83B4-D821F2DB467D}" dt="2019-03-28T20:49:28.403" v="401" actId="14100"/>
        <pc:sldMkLst>
          <pc:docMk/>
          <pc:sldMk cId="3719095227" sldId="612"/>
        </pc:sldMkLst>
        <pc:spChg chg="add mod">
          <ac:chgData name="Hiram Fleitas" userId="461d7124ec7a38ad" providerId="LiveId" clId="{C3DF72AE-141A-49D0-83B4-D821F2DB467D}" dt="2019-03-28T20:49:28.403" v="401" actId="14100"/>
          <ac:spMkLst>
            <pc:docMk/>
            <pc:sldMk cId="3719095227" sldId="612"/>
            <ac:spMk id="12" creationId="{200B08DD-BD3F-4BB6-9F6B-019964B37FE9}"/>
          </ac:spMkLst>
        </pc:spChg>
        <pc:picChg chg="add del ord">
          <ac:chgData name="Hiram Fleitas" userId="461d7124ec7a38ad" providerId="LiveId" clId="{C3DF72AE-141A-49D0-83B4-D821F2DB467D}" dt="2019-03-28T02:04:48.416" v="343" actId="478"/>
          <ac:picMkLst>
            <pc:docMk/>
            <pc:sldMk cId="3719095227" sldId="612"/>
            <ac:picMk id="2" creationId="{C6F23E17-E3C1-4AF3-81C3-AF003C37794B}"/>
          </ac:picMkLst>
        </pc:picChg>
        <pc:picChg chg="del">
          <ac:chgData name="Hiram Fleitas" userId="461d7124ec7a38ad" providerId="LiveId" clId="{C3DF72AE-141A-49D0-83B4-D821F2DB467D}" dt="2019-03-28T02:03:29.685" v="340" actId="478"/>
          <ac:picMkLst>
            <pc:docMk/>
            <pc:sldMk cId="3719095227" sldId="612"/>
            <ac:picMk id="3" creationId="{B3CFBB56-7670-4429-A831-2DB28AD525BA}"/>
          </ac:picMkLst>
        </pc:picChg>
        <pc:picChg chg="add del ord">
          <ac:chgData name="Hiram Fleitas" userId="461d7124ec7a38ad" providerId="LiveId" clId="{C3DF72AE-141A-49D0-83B4-D821F2DB467D}" dt="2019-03-28T20:41:18.380" v="374" actId="478"/>
          <ac:picMkLst>
            <pc:docMk/>
            <pc:sldMk cId="3719095227" sldId="612"/>
            <ac:picMk id="4" creationId="{2B394642-53A7-4308-AF64-965D501D202B}"/>
          </ac:picMkLst>
        </pc:picChg>
        <pc:picChg chg="add ord">
          <ac:chgData name="Hiram Fleitas" userId="461d7124ec7a38ad" providerId="LiveId" clId="{C3DF72AE-141A-49D0-83B4-D821F2DB467D}" dt="2019-03-28T20:41:22.927" v="376" actId="167"/>
          <ac:picMkLst>
            <pc:docMk/>
            <pc:sldMk cId="3719095227" sldId="612"/>
            <ac:picMk id="5" creationId="{414F3D45-1245-4C4D-AEEE-8A556E0087FC}"/>
          </ac:picMkLst>
        </pc:picChg>
      </pc:sldChg>
      <pc:sldChg chg="addSp delSp modSp">
        <pc:chgData name="Hiram Fleitas" userId="461d7124ec7a38ad" providerId="LiveId" clId="{C3DF72AE-141A-49D0-83B4-D821F2DB467D}" dt="2019-03-28T20:50:38.751" v="421" actId="1076"/>
        <pc:sldMkLst>
          <pc:docMk/>
          <pc:sldMk cId="3215023862" sldId="613"/>
        </pc:sldMkLst>
        <pc:spChg chg="add mod">
          <ac:chgData name="Hiram Fleitas" userId="461d7124ec7a38ad" providerId="LiveId" clId="{C3DF72AE-141A-49D0-83B4-D821F2DB467D}" dt="2019-03-28T20:48:58.973" v="395" actId="1036"/>
          <ac:spMkLst>
            <pc:docMk/>
            <pc:sldMk cId="3215023862" sldId="613"/>
            <ac:spMk id="12" creationId="{DE4EFF08-8DA5-44E6-BE82-640418EE1229}"/>
          </ac:spMkLst>
        </pc:spChg>
        <pc:picChg chg="del">
          <ac:chgData name="Hiram Fleitas" userId="461d7124ec7a38ad" providerId="LiveId" clId="{C3DF72AE-141A-49D0-83B4-D821F2DB467D}" dt="2019-03-28T20:45:17.023" v="377" actId="478"/>
          <ac:picMkLst>
            <pc:docMk/>
            <pc:sldMk cId="3215023862" sldId="613"/>
            <ac:picMk id="2" creationId="{2DB90CDB-B859-4C73-89C8-68863E90F28C}"/>
          </ac:picMkLst>
        </pc:picChg>
        <pc:picChg chg="add ord">
          <ac:chgData name="Hiram Fleitas" userId="461d7124ec7a38ad" providerId="LiveId" clId="{C3DF72AE-141A-49D0-83B4-D821F2DB467D}" dt="2019-03-28T20:45:21.460" v="379" actId="167"/>
          <ac:picMkLst>
            <pc:docMk/>
            <pc:sldMk cId="3215023862" sldId="613"/>
            <ac:picMk id="3" creationId="{26B6885C-C1E1-4AD1-A280-57965BF33C8D}"/>
          </ac:picMkLst>
        </pc:picChg>
        <pc:picChg chg="add mod">
          <ac:chgData name="Hiram Fleitas" userId="461d7124ec7a38ad" providerId="LiveId" clId="{C3DF72AE-141A-49D0-83B4-D821F2DB467D}" dt="2019-03-28T20:50:38.751" v="421" actId="1076"/>
          <ac:picMkLst>
            <pc:docMk/>
            <pc:sldMk cId="3215023862" sldId="613"/>
            <ac:picMk id="13" creationId="{002A6FB8-532B-4973-A476-6F3A2DB5C29A}"/>
          </ac:picMkLst>
        </pc:picChg>
        <pc:picChg chg="add mod">
          <ac:chgData name="Hiram Fleitas" userId="461d7124ec7a38ad" providerId="LiveId" clId="{C3DF72AE-141A-49D0-83B4-D821F2DB467D}" dt="2019-03-28T20:50:29.294" v="420" actId="1038"/>
          <ac:picMkLst>
            <pc:docMk/>
            <pc:sldMk cId="3215023862" sldId="613"/>
            <ac:picMk id="14" creationId="{B3F5C4B1-E327-42AB-A845-FF138D45B7F8}"/>
          </ac:picMkLst>
        </pc:picChg>
      </pc:sldChg>
      <pc:sldChg chg="addSp delSp modSp">
        <pc:chgData name="Hiram Fleitas" userId="461d7124ec7a38ad" providerId="LiveId" clId="{C3DF72AE-141A-49D0-83B4-D821F2DB467D}" dt="2019-03-28T20:48:14.724" v="384" actId="167"/>
        <pc:sldMkLst>
          <pc:docMk/>
          <pc:sldMk cId="399840568" sldId="614"/>
        </pc:sldMkLst>
        <pc:spChg chg="del">
          <ac:chgData name="Hiram Fleitas" userId="461d7124ec7a38ad" providerId="LiveId" clId="{C3DF72AE-141A-49D0-83B4-D821F2DB467D}" dt="2019-03-28T20:48:08.959" v="381" actId="478"/>
          <ac:spMkLst>
            <pc:docMk/>
            <pc:sldMk cId="399840568" sldId="614"/>
            <ac:spMk id="13" creationId="{1CE833E6-80ED-439A-81E5-728C216169C7}"/>
          </ac:spMkLst>
        </pc:spChg>
        <pc:spChg chg="del">
          <ac:chgData name="Hiram Fleitas" userId="461d7124ec7a38ad" providerId="LiveId" clId="{C3DF72AE-141A-49D0-83B4-D821F2DB467D}" dt="2019-03-28T20:48:11.068" v="382" actId="478"/>
          <ac:spMkLst>
            <pc:docMk/>
            <pc:sldMk cId="399840568" sldId="614"/>
            <ac:spMk id="14" creationId="{2DD45F95-2458-44D5-8DB7-481031C4BDDB}"/>
          </ac:spMkLst>
        </pc:spChg>
        <pc:picChg chg="del">
          <ac:chgData name="Hiram Fleitas" userId="461d7124ec7a38ad" providerId="LiveId" clId="{C3DF72AE-141A-49D0-83B4-D821F2DB467D}" dt="2019-03-28T20:48:05.646" v="380" actId="478"/>
          <ac:picMkLst>
            <pc:docMk/>
            <pc:sldMk cId="399840568" sldId="614"/>
            <ac:picMk id="2" creationId="{2DB90CDB-B859-4C73-89C8-68863E90F28C}"/>
          </ac:picMkLst>
        </pc:picChg>
        <pc:picChg chg="add ord">
          <ac:chgData name="Hiram Fleitas" userId="461d7124ec7a38ad" providerId="LiveId" clId="{C3DF72AE-141A-49D0-83B4-D821F2DB467D}" dt="2019-03-28T20:48:14.724" v="384" actId="167"/>
          <ac:picMkLst>
            <pc:docMk/>
            <pc:sldMk cId="399840568" sldId="614"/>
            <ac:picMk id="3" creationId="{8FA84D25-6443-402A-8BA0-EF6460FAA3D4}"/>
          </ac:picMkLst>
        </pc:picChg>
      </pc:sldChg>
      <pc:sldChg chg="delSp">
        <pc:chgData name="Hiram Fleitas" userId="461d7124ec7a38ad" providerId="LiveId" clId="{C3DF72AE-141A-49D0-83B4-D821F2DB467D}" dt="2019-03-28T20:58:09.231" v="430" actId="478"/>
        <pc:sldMkLst>
          <pc:docMk/>
          <pc:sldMk cId="3561583775" sldId="616"/>
        </pc:sldMkLst>
        <pc:spChg chg="del">
          <ac:chgData name="Hiram Fleitas" userId="461d7124ec7a38ad" providerId="LiveId" clId="{C3DF72AE-141A-49D0-83B4-D821F2DB467D}" dt="2019-03-28T20:49:10.664" v="396"/>
          <ac:spMkLst>
            <pc:docMk/>
            <pc:sldMk cId="3561583775" sldId="616"/>
            <ac:spMk id="15" creationId="{F7714FF9-D200-4F38-AC8E-D4526C898124}"/>
          </ac:spMkLst>
        </pc:spChg>
        <pc:picChg chg="del">
          <ac:chgData name="Hiram Fleitas" userId="461d7124ec7a38ad" providerId="LiveId" clId="{C3DF72AE-141A-49D0-83B4-D821F2DB467D}" dt="2019-03-28T20:58:09.231" v="430" actId="478"/>
          <ac:picMkLst>
            <pc:docMk/>
            <pc:sldMk cId="3561583775" sldId="616"/>
            <ac:picMk id="3" creationId="{F9768E4A-2E19-44C7-853D-0115289D1F2C}"/>
          </ac:picMkLst>
        </pc:picChg>
      </pc:sldChg>
      <pc:sldChg chg="addSp delSp">
        <pc:chgData name="Hiram Fleitas" userId="461d7124ec7a38ad" providerId="LiveId" clId="{C3DF72AE-141A-49D0-83B4-D821F2DB467D}" dt="2019-03-28T01:51:42.719" v="225"/>
        <pc:sldMkLst>
          <pc:docMk/>
          <pc:sldMk cId="2868298326" sldId="937"/>
        </pc:sldMkLst>
        <pc:grpChg chg="del">
          <ac:chgData name="Hiram Fleitas" userId="461d7124ec7a38ad" providerId="LiveId" clId="{C3DF72AE-141A-49D0-83B4-D821F2DB467D}" dt="2019-03-28T01:51:41.859" v="224" actId="478"/>
          <ac:grpSpMkLst>
            <pc:docMk/>
            <pc:sldMk cId="2868298326" sldId="937"/>
            <ac:grpSpMk id="9" creationId="{FEE8325E-D5D8-4983-A1DA-BCC8CC926D48}"/>
          </ac:grpSpMkLst>
        </pc:grpChg>
        <pc:picChg chg="add">
          <ac:chgData name="Hiram Fleitas" userId="461d7124ec7a38ad" providerId="LiveId" clId="{C3DF72AE-141A-49D0-83B4-D821F2DB467D}" dt="2019-03-28T01:51:42.719" v="225"/>
          <ac:picMkLst>
            <pc:docMk/>
            <pc:sldMk cId="2868298326" sldId="937"/>
            <ac:picMk id="14" creationId="{80A795DB-9961-4775-8663-084729700781}"/>
          </ac:picMkLst>
        </pc:picChg>
      </pc:sldChg>
      <pc:sldChg chg="addSp delSp modSp modAnim">
        <pc:chgData name="Hiram Fleitas" userId="461d7124ec7a38ad" providerId="LiveId" clId="{C3DF72AE-141A-49D0-83B4-D821F2DB467D}" dt="2019-03-28T01:51:48.315" v="227"/>
        <pc:sldMkLst>
          <pc:docMk/>
          <pc:sldMk cId="3157100967" sldId="938"/>
        </pc:sldMkLst>
        <pc:spChg chg="del">
          <ac:chgData name="Hiram Fleitas" userId="461d7124ec7a38ad" providerId="LiveId" clId="{C3DF72AE-141A-49D0-83B4-D821F2DB467D}" dt="2019-03-28T01:34:17.046" v="118" actId="478"/>
          <ac:spMkLst>
            <pc:docMk/>
            <pc:sldMk cId="3157100967" sldId="938"/>
            <ac:spMk id="2" creationId="{755FCDBF-8F98-4817-B6AC-B57EB97960D0}"/>
          </ac:spMkLst>
        </pc:spChg>
        <pc:spChg chg="mod">
          <ac:chgData name="Hiram Fleitas" userId="461d7124ec7a38ad" providerId="LiveId" clId="{C3DF72AE-141A-49D0-83B4-D821F2DB467D}" dt="2019-03-28T01:33:02.575" v="102"/>
          <ac:spMkLst>
            <pc:docMk/>
            <pc:sldMk cId="3157100967" sldId="938"/>
            <ac:spMk id="17" creationId="{659F5FE4-03A0-43BF-912D-32B6E4AC3202}"/>
          </ac:spMkLst>
        </pc:spChg>
        <pc:spChg chg="add mod">
          <ac:chgData name="Hiram Fleitas" userId="461d7124ec7a38ad" providerId="LiveId" clId="{C3DF72AE-141A-49D0-83B4-D821F2DB467D}" dt="2019-03-28T01:34:13.702" v="117" actId="20577"/>
          <ac:spMkLst>
            <pc:docMk/>
            <pc:sldMk cId="3157100967" sldId="938"/>
            <ac:spMk id="19" creationId="{31C17006-162F-49C1-A923-A00E13D5213C}"/>
          </ac:spMkLst>
        </pc:spChg>
        <pc:grpChg chg="del">
          <ac:chgData name="Hiram Fleitas" userId="461d7124ec7a38ad" providerId="LiveId" clId="{C3DF72AE-141A-49D0-83B4-D821F2DB467D}" dt="2019-03-28T01:51:47.469" v="226" actId="478"/>
          <ac:grpSpMkLst>
            <pc:docMk/>
            <pc:sldMk cId="3157100967" sldId="938"/>
            <ac:grpSpMk id="9" creationId="{FEE8325E-D5D8-4983-A1DA-BCC8CC926D48}"/>
          </ac:grpSpMkLst>
        </pc:grpChg>
        <pc:grpChg chg="del">
          <ac:chgData name="Hiram Fleitas" userId="461d7124ec7a38ad" providerId="LiveId" clId="{C3DF72AE-141A-49D0-83B4-D821F2DB467D}" dt="2019-03-28T01:33:08.436" v="103" actId="478"/>
          <ac:grpSpMkLst>
            <pc:docMk/>
            <pc:sldMk cId="3157100967" sldId="938"/>
            <ac:grpSpMk id="14" creationId="{E3473B26-1406-4215-B152-3867DCC2D81A}"/>
          </ac:grpSpMkLst>
        </pc:grpChg>
        <pc:grpChg chg="add">
          <ac:chgData name="Hiram Fleitas" userId="461d7124ec7a38ad" providerId="LiveId" clId="{C3DF72AE-141A-49D0-83B4-D821F2DB467D}" dt="2019-03-28T01:32:36.173" v="101"/>
          <ac:grpSpMkLst>
            <pc:docMk/>
            <pc:sldMk cId="3157100967" sldId="938"/>
            <ac:grpSpMk id="15" creationId="{1D4BB7F8-7C25-41E5-B73D-AD1FE808E3F0}"/>
          </ac:grpSpMkLst>
        </pc:grpChg>
        <pc:picChg chg="add del ord">
          <ac:chgData name="Hiram Fleitas" userId="461d7124ec7a38ad" providerId="LiveId" clId="{C3DF72AE-141A-49D0-83B4-D821F2DB467D}" dt="2019-03-28T01:35:59.536" v="127" actId="478"/>
          <ac:picMkLst>
            <pc:docMk/>
            <pc:sldMk cId="3157100967" sldId="938"/>
            <ac:picMk id="20" creationId="{FB95F9AE-8470-40B9-80C3-7885EDAC9A3F}"/>
          </ac:picMkLst>
        </pc:picChg>
        <pc:picChg chg="add">
          <ac:chgData name="Hiram Fleitas" userId="461d7124ec7a38ad" providerId="LiveId" clId="{C3DF72AE-141A-49D0-83B4-D821F2DB467D}" dt="2019-03-28T01:36:00.583" v="128"/>
          <ac:picMkLst>
            <pc:docMk/>
            <pc:sldMk cId="3157100967" sldId="938"/>
            <ac:picMk id="21" creationId="{A59A6AD4-75BC-4325-A458-9A9BE3722469}"/>
          </ac:picMkLst>
        </pc:picChg>
        <pc:picChg chg="add">
          <ac:chgData name="Hiram Fleitas" userId="461d7124ec7a38ad" providerId="LiveId" clId="{C3DF72AE-141A-49D0-83B4-D821F2DB467D}" dt="2019-03-28T01:51:48.315" v="227"/>
          <ac:picMkLst>
            <pc:docMk/>
            <pc:sldMk cId="3157100967" sldId="938"/>
            <ac:picMk id="22" creationId="{D0217A04-E1E7-4F9D-A711-2CDC28B84B85}"/>
          </ac:picMkLst>
        </pc:picChg>
        <pc:picChg chg="del mod modCrop">
          <ac:chgData name="Hiram Fleitas" userId="461d7124ec7a38ad" providerId="LiveId" clId="{C3DF72AE-141A-49D0-83B4-D821F2DB467D}" dt="2019-03-28T01:35:57.536" v="126"/>
          <ac:picMkLst>
            <pc:docMk/>
            <pc:sldMk cId="3157100967" sldId="938"/>
            <ac:picMk id="10242" creationId="{C593D503-E5DE-47CE-A460-46E6B004F771}"/>
          </ac:picMkLst>
        </pc:picChg>
      </pc:sldChg>
      <pc:sldChg chg="addSp delSp">
        <pc:chgData name="Hiram Fleitas" userId="461d7124ec7a38ad" providerId="LiveId" clId="{C3DF72AE-141A-49D0-83B4-D821F2DB467D}" dt="2019-03-28T01:52:45.538" v="240"/>
        <pc:sldMkLst>
          <pc:docMk/>
          <pc:sldMk cId="2132952452" sldId="941"/>
        </pc:sldMkLst>
        <pc:grpChg chg="del">
          <ac:chgData name="Hiram Fleitas" userId="461d7124ec7a38ad" providerId="LiveId" clId="{C3DF72AE-141A-49D0-83B4-D821F2DB467D}" dt="2019-03-28T01:52:44.429" v="239" actId="478"/>
          <ac:grpSpMkLst>
            <pc:docMk/>
            <pc:sldMk cId="2132952452" sldId="941"/>
            <ac:grpSpMk id="9" creationId="{FEE8325E-D5D8-4983-A1DA-BCC8CC926D48}"/>
          </ac:grpSpMkLst>
        </pc:grpChg>
        <pc:picChg chg="add">
          <ac:chgData name="Hiram Fleitas" userId="461d7124ec7a38ad" providerId="LiveId" clId="{C3DF72AE-141A-49D0-83B4-D821F2DB467D}" dt="2019-03-28T01:52:45.538" v="240"/>
          <ac:picMkLst>
            <pc:docMk/>
            <pc:sldMk cId="2132952452" sldId="941"/>
            <ac:picMk id="13" creationId="{A03092E1-B5EA-4DFF-9459-CB9DE4FD5B7F}"/>
          </ac:picMkLst>
        </pc:picChg>
      </pc:sldChg>
      <pc:sldChg chg="addSp delSp">
        <pc:chgData name="Hiram Fleitas" userId="461d7124ec7a38ad" providerId="LiveId" clId="{C3DF72AE-141A-49D0-83B4-D821F2DB467D}" dt="2019-03-28T01:52:56.585" v="242"/>
        <pc:sldMkLst>
          <pc:docMk/>
          <pc:sldMk cId="422149466" sldId="942"/>
        </pc:sldMkLst>
        <pc:grpChg chg="del">
          <ac:chgData name="Hiram Fleitas" userId="461d7124ec7a38ad" providerId="LiveId" clId="{C3DF72AE-141A-49D0-83B4-D821F2DB467D}" dt="2019-03-28T01:52:54.663" v="241" actId="478"/>
          <ac:grpSpMkLst>
            <pc:docMk/>
            <pc:sldMk cId="422149466" sldId="942"/>
            <ac:grpSpMk id="9" creationId="{FEE8325E-D5D8-4983-A1DA-BCC8CC926D48}"/>
          </ac:grpSpMkLst>
        </pc:grpChg>
        <pc:picChg chg="add">
          <ac:chgData name="Hiram Fleitas" userId="461d7124ec7a38ad" providerId="LiveId" clId="{C3DF72AE-141A-49D0-83B4-D821F2DB467D}" dt="2019-03-28T01:52:56.585" v="242"/>
          <ac:picMkLst>
            <pc:docMk/>
            <pc:sldMk cId="422149466" sldId="942"/>
            <ac:picMk id="13" creationId="{AB797AD6-7507-49EA-8B6D-F8DD6B134F8A}"/>
          </ac:picMkLst>
        </pc:picChg>
      </pc:sldChg>
      <pc:sldChg chg="addSp delSp">
        <pc:chgData name="Hiram Fleitas" userId="461d7124ec7a38ad" providerId="LiveId" clId="{C3DF72AE-141A-49D0-83B4-D821F2DB467D}" dt="2019-03-28T01:53:03.366" v="244"/>
        <pc:sldMkLst>
          <pc:docMk/>
          <pc:sldMk cId="3660474804" sldId="943"/>
        </pc:sldMkLst>
        <pc:grpChg chg="del">
          <ac:chgData name="Hiram Fleitas" userId="461d7124ec7a38ad" providerId="LiveId" clId="{C3DF72AE-141A-49D0-83B4-D821F2DB467D}" dt="2019-03-28T01:53:02.835" v="243" actId="478"/>
          <ac:grpSpMkLst>
            <pc:docMk/>
            <pc:sldMk cId="3660474804" sldId="943"/>
            <ac:grpSpMk id="9" creationId="{FEE8325E-D5D8-4983-A1DA-BCC8CC926D48}"/>
          </ac:grpSpMkLst>
        </pc:grpChg>
        <pc:picChg chg="add">
          <ac:chgData name="Hiram Fleitas" userId="461d7124ec7a38ad" providerId="LiveId" clId="{C3DF72AE-141A-49D0-83B4-D821F2DB467D}" dt="2019-03-28T01:53:03.366" v="244"/>
          <ac:picMkLst>
            <pc:docMk/>
            <pc:sldMk cId="3660474804" sldId="943"/>
            <ac:picMk id="13" creationId="{D0EC1CCB-FFEF-4D55-957F-8DE4AAD9F53A}"/>
          </ac:picMkLst>
        </pc:picChg>
      </pc:sldChg>
      <pc:sldChg chg="addSp delSp">
        <pc:chgData name="Hiram Fleitas" userId="461d7124ec7a38ad" providerId="LiveId" clId="{C3DF72AE-141A-49D0-83B4-D821F2DB467D}" dt="2019-03-28T01:53:12.288" v="246"/>
        <pc:sldMkLst>
          <pc:docMk/>
          <pc:sldMk cId="2855375308" sldId="944"/>
        </pc:sldMkLst>
        <pc:grpChg chg="del">
          <ac:chgData name="Hiram Fleitas" userId="461d7124ec7a38ad" providerId="LiveId" clId="{C3DF72AE-141A-49D0-83B4-D821F2DB467D}" dt="2019-03-28T01:53:11.288" v="245" actId="478"/>
          <ac:grpSpMkLst>
            <pc:docMk/>
            <pc:sldMk cId="2855375308" sldId="944"/>
            <ac:grpSpMk id="9" creationId="{FEE8325E-D5D8-4983-A1DA-BCC8CC926D48}"/>
          </ac:grpSpMkLst>
        </pc:grpChg>
        <pc:picChg chg="add">
          <ac:chgData name="Hiram Fleitas" userId="461d7124ec7a38ad" providerId="LiveId" clId="{C3DF72AE-141A-49D0-83B4-D821F2DB467D}" dt="2019-03-28T01:53:12.288" v="246"/>
          <ac:picMkLst>
            <pc:docMk/>
            <pc:sldMk cId="2855375308" sldId="944"/>
            <ac:picMk id="13" creationId="{23B1BFF6-BB8E-414B-9440-C156C06AEAD9}"/>
          </ac:picMkLst>
        </pc:picChg>
      </pc:sldChg>
      <pc:sldChg chg="addSp delSp">
        <pc:chgData name="Hiram Fleitas" userId="461d7124ec7a38ad" providerId="LiveId" clId="{C3DF72AE-141A-49D0-83B4-D821F2DB467D}" dt="2019-03-28T01:53:24.708" v="248"/>
        <pc:sldMkLst>
          <pc:docMk/>
          <pc:sldMk cId="1628316798" sldId="945"/>
        </pc:sldMkLst>
        <pc:grpChg chg="del">
          <ac:chgData name="Hiram Fleitas" userId="461d7124ec7a38ad" providerId="LiveId" clId="{C3DF72AE-141A-49D0-83B4-D821F2DB467D}" dt="2019-03-28T01:53:23.473" v="247" actId="478"/>
          <ac:grpSpMkLst>
            <pc:docMk/>
            <pc:sldMk cId="1628316798" sldId="945"/>
            <ac:grpSpMk id="9" creationId="{FEE8325E-D5D8-4983-A1DA-BCC8CC926D48}"/>
          </ac:grpSpMkLst>
        </pc:grpChg>
        <pc:picChg chg="add">
          <ac:chgData name="Hiram Fleitas" userId="461d7124ec7a38ad" providerId="LiveId" clId="{C3DF72AE-141A-49D0-83B4-D821F2DB467D}" dt="2019-03-28T01:53:24.708" v="248"/>
          <ac:picMkLst>
            <pc:docMk/>
            <pc:sldMk cId="1628316798" sldId="945"/>
            <ac:picMk id="13" creationId="{503EDCF5-97B5-4315-8DA8-BCF49560C9A7}"/>
          </ac:picMkLst>
        </pc:picChg>
      </pc:sldChg>
      <pc:sldChg chg="addSp delSp">
        <pc:chgData name="Hiram Fleitas" userId="461d7124ec7a38ad" providerId="LiveId" clId="{C3DF72AE-141A-49D0-83B4-D821F2DB467D}" dt="2019-03-28T01:53:31.399" v="250"/>
        <pc:sldMkLst>
          <pc:docMk/>
          <pc:sldMk cId="2213798299" sldId="946"/>
        </pc:sldMkLst>
        <pc:grpChg chg="del">
          <ac:chgData name="Hiram Fleitas" userId="461d7124ec7a38ad" providerId="LiveId" clId="{C3DF72AE-141A-49D0-83B4-D821F2DB467D}" dt="2019-03-28T01:53:30.742" v="249" actId="478"/>
          <ac:grpSpMkLst>
            <pc:docMk/>
            <pc:sldMk cId="2213798299" sldId="946"/>
            <ac:grpSpMk id="9" creationId="{FEE8325E-D5D8-4983-A1DA-BCC8CC926D48}"/>
          </ac:grpSpMkLst>
        </pc:grpChg>
        <pc:picChg chg="add">
          <ac:chgData name="Hiram Fleitas" userId="461d7124ec7a38ad" providerId="LiveId" clId="{C3DF72AE-141A-49D0-83B4-D821F2DB467D}" dt="2019-03-28T01:53:31.399" v="250"/>
          <ac:picMkLst>
            <pc:docMk/>
            <pc:sldMk cId="2213798299" sldId="946"/>
            <ac:picMk id="13" creationId="{8D17FD36-D7C1-49E6-BAD4-714A0601BC85}"/>
          </ac:picMkLst>
        </pc:picChg>
      </pc:sldChg>
      <pc:sldChg chg="addSp delSp modSp modAnim">
        <pc:chgData name="Hiram Fleitas" userId="461d7124ec7a38ad" providerId="LiveId" clId="{C3DF72AE-141A-49D0-83B4-D821F2DB467D}" dt="2019-03-28T01:51:56.690" v="229"/>
        <pc:sldMkLst>
          <pc:docMk/>
          <pc:sldMk cId="2489766288" sldId="947"/>
        </pc:sldMkLst>
        <pc:grpChg chg="del">
          <ac:chgData name="Hiram Fleitas" userId="461d7124ec7a38ad" providerId="LiveId" clId="{C3DF72AE-141A-49D0-83B4-D821F2DB467D}" dt="2019-03-28T01:51:55.284" v="228" actId="478"/>
          <ac:grpSpMkLst>
            <pc:docMk/>
            <pc:sldMk cId="2489766288" sldId="947"/>
            <ac:grpSpMk id="9" creationId="{FEE8325E-D5D8-4983-A1DA-BCC8CC926D48}"/>
          </ac:grpSpMkLst>
        </pc:grpChg>
        <pc:picChg chg="add del mod">
          <ac:chgData name="Hiram Fleitas" userId="461d7124ec7a38ad" providerId="LiveId" clId="{C3DF72AE-141A-49D0-83B4-D821F2DB467D}" dt="2019-03-28T01:31:53.670" v="99"/>
          <ac:picMkLst>
            <pc:docMk/>
            <pc:sldMk cId="2489766288" sldId="947"/>
            <ac:picMk id="15" creationId="{EECBCE44-60E6-412F-B022-B8B137F20BCC}"/>
          </ac:picMkLst>
        </pc:picChg>
        <pc:picChg chg="add del">
          <ac:chgData name="Hiram Fleitas" userId="461d7124ec7a38ad" providerId="LiveId" clId="{C3DF72AE-141A-49D0-83B4-D821F2DB467D}" dt="2019-03-28T01:22:56.504" v="55"/>
          <ac:picMkLst>
            <pc:docMk/>
            <pc:sldMk cId="2489766288" sldId="947"/>
            <ac:picMk id="17" creationId="{CB7E0BAB-C6A1-47D5-84AD-CED0ED88172B}"/>
          </ac:picMkLst>
        </pc:picChg>
        <pc:picChg chg="add">
          <ac:chgData name="Hiram Fleitas" userId="461d7124ec7a38ad" providerId="LiveId" clId="{C3DF72AE-141A-49D0-83B4-D821F2DB467D}" dt="2019-03-28T01:51:56.690" v="229"/>
          <ac:picMkLst>
            <pc:docMk/>
            <pc:sldMk cId="2489766288" sldId="947"/>
            <ac:picMk id="19" creationId="{1752F875-612A-4505-BEE4-E95B926616B8}"/>
          </ac:picMkLst>
        </pc:picChg>
      </pc:sldChg>
      <pc:sldChg chg="addSp delSp modSp add modNotesTx">
        <pc:chgData name="Hiram Fleitas" userId="461d7124ec7a38ad" providerId="LiveId" clId="{C3DF72AE-141A-49D0-83B4-D821F2DB467D}" dt="2019-03-28T20:41:03.766" v="373" actId="167"/>
        <pc:sldMkLst>
          <pc:docMk/>
          <pc:sldMk cId="1682049604" sldId="948"/>
        </pc:sldMkLst>
        <pc:picChg chg="add del ord">
          <ac:chgData name="Hiram Fleitas" userId="461d7124ec7a38ad" providerId="LiveId" clId="{C3DF72AE-141A-49D0-83B4-D821F2DB467D}" dt="2019-03-28T20:40:59.885" v="371" actId="478"/>
          <ac:picMkLst>
            <pc:docMk/>
            <pc:sldMk cId="1682049604" sldId="948"/>
            <ac:picMk id="2" creationId="{987FF40B-41B5-46C1-ABA9-A3899D45722A}"/>
          </ac:picMkLst>
        </pc:picChg>
        <pc:picChg chg="del">
          <ac:chgData name="Hiram Fleitas" userId="461d7124ec7a38ad" providerId="LiveId" clId="{C3DF72AE-141A-49D0-83B4-D821F2DB467D}" dt="2019-03-28T01:54:12.315" v="258" actId="478"/>
          <ac:picMkLst>
            <pc:docMk/>
            <pc:sldMk cId="1682049604" sldId="948"/>
            <ac:picMk id="3" creationId="{1581E792-F1A3-46A2-AD1E-050D65452EE3}"/>
          </ac:picMkLst>
        </pc:picChg>
        <pc:picChg chg="add ord">
          <ac:chgData name="Hiram Fleitas" userId="461d7124ec7a38ad" providerId="LiveId" clId="{C3DF72AE-141A-49D0-83B4-D821F2DB467D}" dt="2019-03-28T20:41:03.766" v="373" actId="167"/>
          <ac:picMkLst>
            <pc:docMk/>
            <pc:sldMk cId="1682049604" sldId="948"/>
            <ac:picMk id="4" creationId="{8EDF83E0-15AC-4EB0-A1E1-DAE80EF02BFB}"/>
          </ac:picMkLst>
        </pc:picChg>
      </pc:sldChg>
    </pc:docChg>
  </pc:docChgLst>
  <pc:docChgLst>
    <pc:chgData name="Hiram Fleitas" userId="461d7124ec7a38ad" providerId="LiveId" clId="{3663DC05-B761-4AF0-89BB-24376A01088A}"/>
    <pc:docChg chg="undo custSel addSld delSld modSld modSection">
      <pc:chgData name="Hiram Fleitas" userId="461d7124ec7a38ad" providerId="LiveId" clId="{3663DC05-B761-4AF0-89BB-24376A01088A}" dt="2019-04-24T13:27:53.373" v="509" actId="20577"/>
      <pc:docMkLst>
        <pc:docMk/>
      </pc:docMkLst>
      <pc:sldChg chg="addSp delSp">
        <pc:chgData name="Hiram Fleitas" userId="461d7124ec7a38ad" providerId="LiveId" clId="{3663DC05-B761-4AF0-89BB-24376A01088A}" dt="2019-04-24T00:30:32.860" v="212"/>
        <pc:sldMkLst>
          <pc:docMk/>
          <pc:sldMk cId="3759792378" sldId="257"/>
        </pc:sldMkLst>
        <pc:grpChg chg="add del">
          <ac:chgData name="Hiram Fleitas" userId="461d7124ec7a38ad" providerId="LiveId" clId="{3663DC05-B761-4AF0-89BB-24376A01088A}" dt="2019-04-24T00:30:32.433" v="211" actId="478"/>
          <ac:grpSpMkLst>
            <pc:docMk/>
            <pc:sldMk cId="3759792378" sldId="257"/>
            <ac:grpSpMk id="6" creationId="{D33DDA71-316A-4148-A47A-F595BB867721}"/>
          </ac:grpSpMkLst>
        </pc:grpChg>
        <pc:grpChg chg="add">
          <ac:chgData name="Hiram Fleitas" userId="461d7124ec7a38ad" providerId="LiveId" clId="{3663DC05-B761-4AF0-89BB-24376A01088A}" dt="2019-04-24T00:30:32.860" v="212"/>
          <ac:grpSpMkLst>
            <pc:docMk/>
            <pc:sldMk cId="3759792378" sldId="257"/>
            <ac:grpSpMk id="12" creationId="{BBEB2D37-1CDD-48FE-9405-D203D39C73BC}"/>
          </ac:grpSpMkLst>
        </pc:grpChg>
        <pc:picChg chg="del">
          <ac:chgData name="Hiram Fleitas" userId="461d7124ec7a38ad" providerId="LiveId" clId="{3663DC05-B761-4AF0-89BB-24376A01088A}" dt="2019-04-24T00:24:24.570" v="111" actId="478"/>
          <ac:picMkLst>
            <pc:docMk/>
            <pc:sldMk cId="3759792378" sldId="257"/>
            <ac:picMk id="10" creationId="{31EB8DEF-485B-46B9-980B-4C5EE6E7B7AD}"/>
          </ac:picMkLst>
        </pc:picChg>
      </pc:sldChg>
      <pc:sldChg chg="addSp delSp">
        <pc:chgData name="Hiram Fleitas" userId="461d7124ec7a38ad" providerId="LiveId" clId="{3663DC05-B761-4AF0-89BB-24376A01088A}" dt="2019-04-24T00:30:27.723" v="210"/>
        <pc:sldMkLst>
          <pc:docMk/>
          <pc:sldMk cId="1723390988" sldId="258"/>
        </pc:sldMkLst>
        <pc:grpChg chg="add del">
          <ac:chgData name="Hiram Fleitas" userId="461d7124ec7a38ad" providerId="LiveId" clId="{3663DC05-B761-4AF0-89BB-24376A01088A}" dt="2019-04-24T00:30:27.361" v="209" actId="478"/>
          <ac:grpSpMkLst>
            <pc:docMk/>
            <pc:sldMk cId="1723390988" sldId="258"/>
            <ac:grpSpMk id="5" creationId="{B04B5D0E-7AEC-458B-BB29-B30633CCE0DB}"/>
          </ac:grpSpMkLst>
        </pc:grpChg>
        <pc:grpChg chg="add">
          <ac:chgData name="Hiram Fleitas" userId="461d7124ec7a38ad" providerId="LiveId" clId="{3663DC05-B761-4AF0-89BB-24376A01088A}" dt="2019-04-24T00:30:27.723" v="210"/>
          <ac:grpSpMkLst>
            <pc:docMk/>
            <pc:sldMk cId="1723390988" sldId="258"/>
            <ac:grpSpMk id="10" creationId="{B325BCFE-2AC1-405E-B1A6-922638727922}"/>
          </ac:grpSpMkLst>
        </pc:grpChg>
        <pc:picChg chg="del">
          <ac:chgData name="Hiram Fleitas" userId="461d7124ec7a38ad" providerId="LiveId" clId="{3663DC05-B761-4AF0-89BB-24376A01088A}" dt="2019-04-24T00:24:31.995" v="114" actId="478"/>
          <ac:picMkLst>
            <pc:docMk/>
            <pc:sldMk cId="1723390988" sldId="258"/>
            <ac:picMk id="7" creationId="{7EB97DA7-BC37-4D22-B915-64832752BE05}"/>
          </ac:picMkLst>
        </pc:picChg>
      </pc:sldChg>
      <pc:sldChg chg="addSp delSp">
        <pc:chgData name="Hiram Fleitas" userId="461d7124ec7a38ad" providerId="LiveId" clId="{3663DC05-B761-4AF0-89BB-24376A01088A}" dt="2019-04-24T00:30:11.859" v="204"/>
        <pc:sldMkLst>
          <pc:docMk/>
          <pc:sldMk cId="2111787185" sldId="261"/>
        </pc:sldMkLst>
        <pc:grpChg chg="add del">
          <ac:chgData name="Hiram Fleitas" userId="461d7124ec7a38ad" providerId="LiveId" clId="{3663DC05-B761-4AF0-89BB-24376A01088A}" dt="2019-04-24T00:30:11.385" v="203" actId="478"/>
          <ac:grpSpMkLst>
            <pc:docMk/>
            <pc:sldMk cId="2111787185" sldId="261"/>
            <ac:grpSpMk id="44" creationId="{C0DEFE63-1D6E-4B49-89C4-F67A3BB5C509}"/>
          </ac:grpSpMkLst>
        </pc:grpChg>
        <pc:grpChg chg="add">
          <ac:chgData name="Hiram Fleitas" userId="461d7124ec7a38ad" providerId="LiveId" clId="{3663DC05-B761-4AF0-89BB-24376A01088A}" dt="2019-04-24T00:30:11.859" v="204"/>
          <ac:grpSpMkLst>
            <pc:docMk/>
            <pc:sldMk cId="2111787185" sldId="261"/>
            <ac:grpSpMk id="82" creationId="{1E305D63-6F96-40D2-8239-F429425A9FA8}"/>
          </ac:grpSpMkLst>
        </pc:grpChg>
        <pc:picChg chg="del">
          <ac:chgData name="Hiram Fleitas" userId="461d7124ec7a38ad" providerId="LiveId" clId="{3663DC05-B761-4AF0-89BB-24376A01088A}" dt="2019-04-24T00:24:49.013" v="120" actId="478"/>
          <ac:picMkLst>
            <pc:docMk/>
            <pc:sldMk cId="2111787185" sldId="261"/>
            <ac:picMk id="46" creationId="{AE8A0B9C-D01E-4237-8C7C-7F8BAF722E10}"/>
          </ac:picMkLst>
        </pc:picChg>
      </pc:sldChg>
      <pc:sldChg chg="del">
        <pc:chgData name="Hiram Fleitas" userId="461d7124ec7a38ad" providerId="LiveId" clId="{3663DC05-B761-4AF0-89BB-24376A01088A}" dt="2019-04-24T01:48:56.391" v="505" actId="2696"/>
        <pc:sldMkLst>
          <pc:docMk/>
          <pc:sldMk cId="393149696" sldId="306"/>
        </pc:sldMkLst>
      </pc:sldChg>
      <pc:sldChg chg="addSp delSp modSp modNotesTx">
        <pc:chgData name="Hiram Fleitas" userId="461d7124ec7a38ad" providerId="LiveId" clId="{3663DC05-B761-4AF0-89BB-24376A01088A}" dt="2019-04-24T00:30:38.023" v="214"/>
        <pc:sldMkLst>
          <pc:docMk/>
          <pc:sldMk cId="3363124758" sldId="307"/>
        </pc:sldMkLst>
        <pc:grpChg chg="add del">
          <ac:chgData name="Hiram Fleitas" userId="461d7124ec7a38ad" providerId="LiveId" clId="{3663DC05-B761-4AF0-89BB-24376A01088A}" dt="2019-04-24T00:30:37.176" v="213" actId="478"/>
          <ac:grpSpMkLst>
            <pc:docMk/>
            <pc:sldMk cId="3363124758" sldId="307"/>
            <ac:grpSpMk id="5" creationId="{EDCF1F8C-028E-44B8-8F9B-D4812E0AA3E2}"/>
          </ac:grpSpMkLst>
        </pc:grpChg>
        <pc:grpChg chg="add">
          <ac:chgData name="Hiram Fleitas" userId="461d7124ec7a38ad" providerId="LiveId" clId="{3663DC05-B761-4AF0-89BB-24376A01088A}" dt="2019-04-24T00:30:38.023" v="214"/>
          <ac:grpSpMkLst>
            <pc:docMk/>
            <pc:sldMk cId="3363124758" sldId="307"/>
            <ac:grpSpMk id="8" creationId="{C00C2F1F-70DF-4A55-B6B4-D036F7138A2B}"/>
          </ac:grpSpMkLst>
        </pc:grpChg>
        <pc:picChg chg="mod">
          <ac:chgData name="Hiram Fleitas" userId="461d7124ec7a38ad" providerId="LiveId" clId="{3663DC05-B761-4AF0-89BB-24376A01088A}" dt="2019-04-24T00:24:12.975" v="110"/>
          <ac:picMkLst>
            <pc:docMk/>
            <pc:sldMk cId="3363124758" sldId="307"/>
            <ac:picMk id="6" creationId="{057ACC6C-0838-41A5-A9E8-CDA687541B61}"/>
          </ac:picMkLst>
        </pc:picChg>
        <pc:picChg chg="mod">
          <ac:chgData name="Hiram Fleitas" userId="461d7124ec7a38ad" providerId="LiveId" clId="{3663DC05-B761-4AF0-89BB-24376A01088A}" dt="2019-04-24T00:24:07.247" v="109"/>
          <ac:picMkLst>
            <pc:docMk/>
            <pc:sldMk cId="3363124758" sldId="307"/>
            <ac:picMk id="7" creationId="{E42B96BC-9F6A-42CD-868C-41EBDF04DE2F}"/>
          </ac:picMkLst>
        </pc:picChg>
        <pc:picChg chg="del">
          <ac:chgData name="Hiram Fleitas" userId="461d7124ec7a38ad" providerId="LiveId" clId="{3663DC05-B761-4AF0-89BB-24376A01088A}" dt="2019-04-24T00:23:07.105" v="107" actId="478"/>
          <ac:picMkLst>
            <pc:docMk/>
            <pc:sldMk cId="3363124758" sldId="307"/>
            <ac:picMk id="9" creationId="{480FA06C-1C54-4B84-847D-5962A1DFBB21}"/>
          </ac:picMkLst>
        </pc:picChg>
      </pc:sldChg>
      <pc:sldChg chg="addSp delSp">
        <pc:chgData name="Hiram Fleitas" userId="461d7124ec7a38ad" providerId="LiveId" clId="{3663DC05-B761-4AF0-89BB-24376A01088A}" dt="2019-04-24T00:29:05.776" v="186"/>
        <pc:sldMkLst>
          <pc:docMk/>
          <pc:sldMk cId="1969843946" sldId="324"/>
        </pc:sldMkLst>
        <pc:grpChg chg="add del">
          <ac:chgData name="Hiram Fleitas" userId="461d7124ec7a38ad" providerId="LiveId" clId="{3663DC05-B761-4AF0-89BB-24376A01088A}" dt="2019-04-24T00:29:05.455" v="185" actId="478"/>
          <ac:grpSpMkLst>
            <pc:docMk/>
            <pc:sldMk cId="1969843946" sldId="324"/>
            <ac:grpSpMk id="8" creationId="{27EF3806-49BC-49B5-8887-EA7BE9A9E504}"/>
          </ac:grpSpMkLst>
        </pc:grpChg>
        <pc:grpChg chg="add">
          <ac:chgData name="Hiram Fleitas" userId="461d7124ec7a38ad" providerId="LiveId" clId="{3663DC05-B761-4AF0-89BB-24376A01088A}" dt="2019-04-24T00:29:05.776" v="186"/>
          <ac:grpSpMkLst>
            <pc:docMk/>
            <pc:sldMk cId="1969843946" sldId="324"/>
            <ac:grpSpMk id="12" creationId="{DD06DBEC-6B4A-4CCC-B182-E1FA77D4F56F}"/>
          </ac:grpSpMkLst>
        </pc:grpChg>
        <pc:picChg chg="del">
          <ac:chgData name="Hiram Fleitas" userId="461d7124ec7a38ad" providerId="LiveId" clId="{3663DC05-B761-4AF0-89BB-24376A01088A}" dt="2019-04-24T00:25:45.835" v="137" actId="478"/>
          <ac:picMkLst>
            <pc:docMk/>
            <pc:sldMk cId="1969843946" sldId="324"/>
            <ac:picMk id="10" creationId="{30823A3C-FED5-4F46-9A6F-04B450AFF452}"/>
          </ac:picMkLst>
        </pc:picChg>
      </pc:sldChg>
      <pc:sldChg chg="addSp delSp">
        <pc:chgData name="Hiram Fleitas" userId="461d7124ec7a38ad" providerId="LiveId" clId="{3663DC05-B761-4AF0-89BB-24376A01088A}" dt="2019-04-24T00:29:18.608" v="190"/>
        <pc:sldMkLst>
          <pc:docMk/>
          <pc:sldMk cId="1761106601" sldId="327"/>
        </pc:sldMkLst>
        <pc:grpChg chg="add del">
          <ac:chgData name="Hiram Fleitas" userId="461d7124ec7a38ad" providerId="LiveId" clId="{3663DC05-B761-4AF0-89BB-24376A01088A}" dt="2019-04-24T00:29:18.156" v="189" actId="478"/>
          <ac:grpSpMkLst>
            <pc:docMk/>
            <pc:sldMk cId="1761106601" sldId="327"/>
            <ac:grpSpMk id="11" creationId="{7C5CD411-D993-4DB6-BBCE-42DDECE659C6}"/>
          </ac:grpSpMkLst>
        </pc:grpChg>
        <pc:grpChg chg="add">
          <ac:chgData name="Hiram Fleitas" userId="461d7124ec7a38ad" providerId="LiveId" clId="{3663DC05-B761-4AF0-89BB-24376A01088A}" dt="2019-04-24T00:29:18.608" v="190"/>
          <ac:grpSpMkLst>
            <pc:docMk/>
            <pc:sldMk cId="1761106601" sldId="327"/>
            <ac:grpSpMk id="14" creationId="{79E960C6-EC06-4179-9DFE-F884A2582999}"/>
          </ac:grpSpMkLst>
        </pc:grpChg>
        <pc:picChg chg="del">
          <ac:chgData name="Hiram Fleitas" userId="461d7124ec7a38ad" providerId="LiveId" clId="{3663DC05-B761-4AF0-89BB-24376A01088A}" dt="2019-04-24T00:25:35.090" v="134" actId="478"/>
          <ac:picMkLst>
            <pc:docMk/>
            <pc:sldMk cId="1761106601" sldId="327"/>
            <ac:picMk id="26" creationId="{D2687F50-6C20-4512-AA04-4D5577E9C746}"/>
          </ac:picMkLst>
        </pc:picChg>
      </pc:sldChg>
      <pc:sldChg chg="addSp delSp">
        <pc:chgData name="Hiram Fleitas" userId="461d7124ec7a38ad" providerId="LiveId" clId="{3663DC05-B761-4AF0-89BB-24376A01088A}" dt="2019-04-24T00:29:10.017" v="188"/>
        <pc:sldMkLst>
          <pc:docMk/>
          <pc:sldMk cId="3755768089" sldId="332"/>
        </pc:sldMkLst>
        <pc:grpChg chg="add del">
          <ac:chgData name="Hiram Fleitas" userId="461d7124ec7a38ad" providerId="LiveId" clId="{3663DC05-B761-4AF0-89BB-24376A01088A}" dt="2019-04-24T00:29:09.726" v="187" actId="478"/>
          <ac:grpSpMkLst>
            <pc:docMk/>
            <pc:sldMk cId="3755768089" sldId="332"/>
            <ac:grpSpMk id="22" creationId="{C37BA5CF-6A8D-476F-8471-6A4C3A93FBF5}"/>
          </ac:grpSpMkLst>
        </pc:grpChg>
        <pc:grpChg chg="add">
          <ac:chgData name="Hiram Fleitas" userId="461d7124ec7a38ad" providerId="LiveId" clId="{3663DC05-B761-4AF0-89BB-24376A01088A}" dt="2019-04-24T00:29:10.017" v="188"/>
          <ac:grpSpMkLst>
            <pc:docMk/>
            <pc:sldMk cId="3755768089" sldId="332"/>
            <ac:grpSpMk id="25" creationId="{2B567160-3ED0-4ED9-A438-77F174B02EAE}"/>
          </ac:grpSpMkLst>
        </pc:grpChg>
      </pc:sldChg>
      <pc:sldChg chg="addSp delSp modSp">
        <pc:chgData name="Hiram Fleitas" userId="461d7124ec7a38ad" providerId="LiveId" clId="{3663DC05-B761-4AF0-89BB-24376A01088A}" dt="2019-04-24T00:30:22.867" v="208"/>
        <pc:sldMkLst>
          <pc:docMk/>
          <pc:sldMk cId="3550446227" sldId="370"/>
        </pc:sldMkLst>
        <pc:grpChg chg="add del">
          <ac:chgData name="Hiram Fleitas" userId="461d7124ec7a38ad" providerId="LiveId" clId="{3663DC05-B761-4AF0-89BB-24376A01088A}" dt="2019-04-24T00:30:22.513" v="207" actId="478"/>
          <ac:grpSpMkLst>
            <pc:docMk/>
            <pc:sldMk cId="3550446227" sldId="370"/>
            <ac:grpSpMk id="14" creationId="{A9B9E510-5A4F-46AF-8D7D-C9A93C5BB631}"/>
          </ac:grpSpMkLst>
        </pc:grpChg>
        <pc:grpChg chg="add">
          <ac:chgData name="Hiram Fleitas" userId="461d7124ec7a38ad" providerId="LiveId" clId="{3663DC05-B761-4AF0-89BB-24376A01088A}" dt="2019-04-24T00:30:22.867" v="208"/>
          <ac:grpSpMkLst>
            <pc:docMk/>
            <pc:sldMk cId="3550446227" sldId="370"/>
            <ac:grpSpMk id="20" creationId="{D21F363E-2159-4E8C-A35E-D816AB445345}"/>
          </ac:grpSpMkLst>
        </pc:grpChg>
        <pc:picChg chg="add del ord">
          <ac:chgData name="Hiram Fleitas" userId="461d7124ec7a38ad" providerId="LiveId" clId="{3663DC05-B761-4AF0-89BB-24376A01088A}" dt="2019-04-24T00:11:52.479" v="51"/>
          <ac:picMkLst>
            <pc:docMk/>
            <pc:sldMk cId="3550446227" sldId="370"/>
            <ac:picMk id="2" creationId="{120DD5EE-98CE-47F4-B0D7-63B639B1D13C}"/>
          </ac:picMkLst>
        </pc:picChg>
        <pc:picChg chg="add del">
          <ac:chgData name="Hiram Fleitas" userId="461d7124ec7a38ad" providerId="LiveId" clId="{3663DC05-B761-4AF0-89BB-24376A01088A}" dt="2019-04-24T00:11:53.463" v="52" actId="478"/>
          <ac:picMkLst>
            <pc:docMk/>
            <pc:sldMk cId="3550446227" sldId="370"/>
            <ac:picMk id="3" creationId="{B436C35D-D0BD-438A-AC31-A77278AB1E97}"/>
          </ac:picMkLst>
        </pc:picChg>
        <pc:picChg chg="del">
          <ac:chgData name="Hiram Fleitas" userId="461d7124ec7a38ad" providerId="LiveId" clId="{3663DC05-B761-4AF0-89BB-24376A01088A}" dt="2019-04-24T00:24:37.249" v="116" actId="478"/>
          <ac:picMkLst>
            <pc:docMk/>
            <pc:sldMk cId="3550446227" sldId="370"/>
            <ac:picMk id="17" creationId="{47F54F54-0A1D-4B09-B203-15FC80B6A4DA}"/>
          </ac:picMkLst>
        </pc:picChg>
      </pc:sldChg>
      <pc:sldChg chg="addSp delSp">
        <pc:chgData name="Hiram Fleitas" userId="461d7124ec7a38ad" providerId="LiveId" clId="{3663DC05-B761-4AF0-89BB-24376A01088A}" dt="2019-04-24T00:30:17.477" v="206"/>
        <pc:sldMkLst>
          <pc:docMk/>
          <pc:sldMk cId="3158239655" sldId="371"/>
        </pc:sldMkLst>
        <pc:grpChg chg="add del">
          <ac:chgData name="Hiram Fleitas" userId="461d7124ec7a38ad" providerId="LiveId" clId="{3663DC05-B761-4AF0-89BB-24376A01088A}" dt="2019-04-24T00:30:17.098" v="205" actId="478"/>
          <ac:grpSpMkLst>
            <pc:docMk/>
            <pc:sldMk cId="3158239655" sldId="371"/>
            <ac:grpSpMk id="23" creationId="{B3DB5C5A-EA0D-46AC-9BD8-02721C92113F}"/>
          </ac:grpSpMkLst>
        </pc:grpChg>
        <pc:grpChg chg="add">
          <ac:chgData name="Hiram Fleitas" userId="461d7124ec7a38ad" providerId="LiveId" clId="{3663DC05-B761-4AF0-89BB-24376A01088A}" dt="2019-04-24T00:30:17.477" v="206"/>
          <ac:grpSpMkLst>
            <pc:docMk/>
            <pc:sldMk cId="3158239655" sldId="371"/>
            <ac:grpSpMk id="27" creationId="{778145BA-FEB4-4BE3-BDAB-4E3C48381DF4}"/>
          </ac:grpSpMkLst>
        </pc:grpChg>
        <pc:picChg chg="del">
          <ac:chgData name="Hiram Fleitas" userId="461d7124ec7a38ad" providerId="LiveId" clId="{3663DC05-B761-4AF0-89BB-24376A01088A}" dt="2019-04-24T00:24:44.693" v="118" actId="478"/>
          <ac:picMkLst>
            <pc:docMk/>
            <pc:sldMk cId="3158239655" sldId="371"/>
            <ac:picMk id="30" creationId="{5BA83E43-7837-4456-AB2F-15F8E64D9722}"/>
          </ac:picMkLst>
        </pc:picChg>
      </pc:sldChg>
      <pc:sldChg chg="addSp delSp">
        <pc:chgData name="Hiram Fleitas" userId="461d7124ec7a38ad" providerId="LiveId" clId="{3663DC05-B761-4AF0-89BB-24376A01088A}" dt="2019-04-24T00:28:20.329" v="171"/>
        <pc:sldMkLst>
          <pc:docMk/>
          <pc:sldMk cId="4091502606" sldId="529"/>
        </pc:sldMkLst>
        <pc:grpChg chg="add del">
          <ac:chgData name="Hiram Fleitas" userId="461d7124ec7a38ad" providerId="LiveId" clId="{3663DC05-B761-4AF0-89BB-24376A01088A}" dt="2019-04-24T00:28:19.910" v="170" actId="478"/>
          <ac:grpSpMkLst>
            <pc:docMk/>
            <pc:sldMk cId="4091502606" sldId="529"/>
            <ac:grpSpMk id="9" creationId="{B4F785FB-FB42-4F38-90DD-A7FBDA01833B}"/>
          </ac:grpSpMkLst>
        </pc:grpChg>
        <pc:grpChg chg="add">
          <ac:chgData name="Hiram Fleitas" userId="461d7124ec7a38ad" providerId="LiveId" clId="{3663DC05-B761-4AF0-89BB-24376A01088A}" dt="2019-04-24T00:28:20.329" v="171"/>
          <ac:grpSpMkLst>
            <pc:docMk/>
            <pc:sldMk cId="4091502606" sldId="529"/>
            <ac:grpSpMk id="13" creationId="{95EE5B1A-92F8-4AB7-90A6-68AE44C1D59E}"/>
          </ac:grpSpMkLst>
        </pc:grpChg>
        <pc:picChg chg="del">
          <ac:chgData name="Hiram Fleitas" userId="461d7124ec7a38ad" providerId="LiveId" clId="{3663DC05-B761-4AF0-89BB-24376A01088A}" dt="2019-04-24T00:26:52.034" v="153" actId="478"/>
          <ac:picMkLst>
            <pc:docMk/>
            <pc:sldMk cId="4091502606" sldId="529"/>
            <ac:picMk id="11" creationId="{65F2397F-1D9E-4FA1-8F27-03D94E2A6827}"/>
          </ac:picMkLst>
        </pc:picChg>
      </pc:sldChg>
      <pc:sldChg chg="addSp delSp modNotesTx">
        <pc:chgData name="Hiram Fleitas" userId="461d7124ec7a38ad" providerId="LiveId" clId="{3663DC05-B761-4AF0-89BB-24376A01088A}" dt="2019-04-24T00:30:07.677" v="202"/>
        <pc:sldMkLst>
          <pc:docMk/>
          <pc:sldMk cId="2390529645" sldId="592"/>
        </pc:sldMkLst>
        <pc:grpChg chg="add del">
          <ac:chgData name="Hiram Fleitas" userId="461d7124ec7a38ad" providerId="LiveId" clId="{3663DC05-B761-4AF0-89BB-24376A01088A}" dt="2019-04-24T00:30:07.189" v="201" actId="478"/>
          <ac:grpSpMkLst>
            <pc:docMk/>
            <pc:sldMk cId="2390529645" sldId="592"/>
            <ac:grpSpMk id="13" creationId="{90D84BB1-B6CF-4425-9AC7-E261D7B67730}"/>
          </ac:grpSpMkLst>
        </pc:grpChg>
        <pc:grpChg chg="add">
          <ac:chgData name="Hiram Fleitas" userId="461d7124ec7a38ad" providerId="LiveId" clId="{3663DC05-B761-4AF0-89BB-24376A01088A}" dt="2019-04-24T00:30:07.677" v="202"/>
          <ac:grpSpMkLst>
            <pc:docMk/>
            <pc:sldMk cId="2390529645" sldId="592"/>
            <ac:grpSpMk id="18" creationId="{FA74E4A1-36E2-46A2-B9B6-651377043F5D}"/>
          </ac:grpSpMkLst>
        </pc:grpChg>
        <pc:picChg chg="del">
          <ac:chgData name="Hiram Fleitas" userId="461d7124ec7a38ad" providerId="LiveId" clId="{3663DC05-B761-4AF0-89BB-24376A01088A}" dt="2019-04-24T00:25:01.701" v="122" actId="478"/>
          <ac:picMkLst>
            <pc:docMk/>
            <pc:sldMk cId="2390529645" sldId="592"/>
            <ac:picMk id="15" creationId="{31C3EE62-5132-4E96-BAC4-FDECB31984E9}"/>
          </ac:picMkLst>
        </pc:picChg>
      </pc:sldChg>
      <pc:sldChg chg="addSp delSp">
        <pc:chgData name="Hiram Fleitas" userId="461d7124ec7a38ad" providerId="LiveId" clId="{3663DC05-B761-4AF0-89BB-24376A01088A}" dt="2019-04-24T00:28:59.184" v="184"/>
        <pc:sldMkLst>
          <pc:docMk/>
          <pc:sldMk cId="4172075436" sldId="594"/>
        </pc:sldMkLst>
        <pc:grpChg chg="add del">
          <ac:chgData name="Hiram Fleitas" userId="461d7124ec7a38ad" providerId="LiveId" clId="{3663DC05-B761-4AF0-89BB-24376A01088A}" dt="2019-04-24T00:28:58.869" v="183" actId="478"/>
          <ac:grpSpMkLst>
            <pc:docMk/>
            <pc:sldMk cId="4172075436" sldId="594"/>
            <ac:grpSpMk id="7" creationId="{6891D890-065A-447A-B086-19A685F1B4C2}"/>
          </ac:grpSpMkLst>
        </pc:grpChg>
        <pc:grpChg chg="add">
          <ac:chgData name="Hiram Fleitas" userId="461d7124ec7a38ad" providerId="LiveId" clId="{3663DC05-B761-4AF0-89BB-24376A01088A}" dt="2019-04-24T00:28:59.184" v="184"/>
          <ac:grpSpMkLst>
            <pc:docMk/>
            <pc:sldMk cId="4172075436" sldId="594"/>
            <ac:grpSpMk id="12" creationId="{4FDF8100-31F4-4A64-8A54-AECF3687DCA3}"/>
          </ac:grpSpMkLst>
        </pc:grpChg>
        <pc:picChg chg="del">
          <ac:chgData name="Hiram Fleitas" userId="461d7124ec7a38ad" providerId="LiveId" clId="{3663DC05-B761-4AF0-89BB-24376A01088A}" dt="2019-04-24T00:25:52.630" v="139" actId="478"/>
          <ac:picMkLst>
            <pc:docMk/>
            <pc:sldMk cId="4172075436" sldId="594"/>
            <ac:picMk id="11" creationId="{D21BBCB7-DFB4-47B4-84A4-AC641BDD36BD}"/>
          </ac:picMkLst>
        </pc:picChg>
      </pc:sldChg>
      <pc:sldChg chg="addSp delSp">
        <pc:chgData name="Hiram Fleitas" userId="461d7124ec7a38ad" providerId="LiveId" clId="{3663DC05-B761-4AF0-89BB-24376A01088A}" dt="2019-04-24T00:29:59.026" v="200"/>
        <pc:sldMkLst>
          <pc:docMk/>
          <pc:sldMk cId="448541041" sldId="601"/>
        </pc:sldMkLst>
        <pc:grpChg chg="add del">
          <ac:chgData name="Hiram Fleitas" userId="461d7124ec7a38ad" providerId="LiveId" clId="{3663DC05-B761-4AF0-89BB-24376A01088A}" dt="2019-04-24T00:29:58.629" v="199" actId="478"/>
          <ac:grpSpMkLst>
            <pc:docMk/>
            <pc:sldMk cId="448541041" sldId="601"/>
            <ac:grpSpMk id="11" creationId="{5DBD5AD7-7539-46A5-851E-0B65756A4D32}"/>
          </ac:grpSpMkLst>
        </pc:grpChg>
        <pc:grpChg chg="add">
          <ac:chgData name="Hiram Fleitas" userId="461d7124ec7a38ad" providerId="LiveId" clId="{3663DC05-B761-4AF0-89BB-24376A01088A}" dt="2019-04-24T00:29:59.026" v="200"/>
          <ac:grpSpMkLst>
            <pc:docMk/>
            <pc:sldMk cId="448541041" sldId="601"/>
            <ac:grpSpMk id="16" creationId="{0E704EF5-19B9-485F-8722-16CBE3F74E03}"/>
          </ac:grpSpMkLst>
        </pc:grpChg>
        <pc:picChg chg="del">
          <ac:chgData name="Hiram Fleitas" userId="461d7124ec7a38ad" providerId="LiveId" clId="{3663DC05-B761-4AF0-89BB-24376A01088A}" dt="2019-04-24T00:25:06.829" v="124" actId="478"/>
          <ac:picMkLst>
            <pc:docMk/>
            <pc:sldMk cId="448541041" sldId="601"/>
            <ac:picMk id="13" creationId="{9B63A4C3-3498-4431-9A92-E50FE3BAD6E8}"/>
          </ac:picMkLst>
        </pc:picChg>
      </pc:sldChg>
      <pc:sldChg chg="addSp delSp">
        <pc:chgData name="Hiram Fleitas" userId="461d7124ec7a38ad" providerId="LiveId" clId="{3663DC05-B761-4AF0-89BB-24376A01088A}" dt="2019-04-24T00:29:51.529" v="198"/>
        <pc:sldMkLst>
          <pc:docMk/>
          <pc:sldMk cId="3030542895" sldId="602"/>
        </pc:sldMkLst>
        <pc:grpChg chg="add del">
          <ac:chgData name="Hiram Fleitas" userId="461d7124ec7a38ad" providerId="LiveId" clId="{3663DC05-B761-4AF0-89BB-24376A01088A}" dt="2019-04-24T00:29:51.104" v="197" actId="478"/>
          <ac:grpSpMkLst>
            <pc:docMk/>
            <pc:sldMk cId="3030542895" sldId="602"/>
            <ac:grpSpMk id="9" creationId="{093494CD-B945-491C-807E-9C2C58FF9929}"/>
          </ac:grpSpMkLst>
        </pc:grpChg>
        <pc:grpChg chg="add">
          <ac:chgData name="Hiram Fleitas" userId="461d7124ec7a38ad" providerId="LiveId" clId="{3663DC05-B761-4AF0-89BB-24376A01088A}" dt="2019-04-24T00:29:51.529" v="198"/>
          <ac:grpSpMkLst>
            <pc:docMk/>
            <pc:sldMk cId="3030542895" sldId="602"/>
            <ac:grpSpMk id="14" creationId="{FAE6AC35-D83F-445B-A487-711F76D08DE0}"/>
          </ac:grpSpMkLst>
        </pc:grpChg>
        <pc:picChg chg="del">
          <ac:chgData name="Hiram Fleitas" userId="461d7124ec7a38ad" providerId="LiveId" clId="{3663DC05-B761-4AF0-89BB-24376A01088A}" dt="2019-04-24T00:25:12.102" v="126" actId="478"/>
          <ac:picMkLst>
            <pc:docMk/>
            <pc:sldMk cId="3030542895" sldId="602"/>
            <ac:picMk id="13" creationId="{A85DB675-FF07-4C3B-89B2-9ADF159C9EF4}"/>
          </ac:picMkLst>
        </pc:picChg>
      </pc:sldChg>
      <pc:sldChg chg="addSp delSp">
        <pc:chgData name="Hiram Fleitas" userId="461d7124ec7a38ad" providerId="LiveId" clId="{3663DC05-B761-4AF0-89BB-24376A01088A}" dt="2019-04-24T00:28:13.024" v="169"/>
        <pc:sldMkLst>
          <pc:docMk/>
          <pc:sldMk cId="1221746463" sldId="609"/>
        </pc:sldMkLst>
        <pc:grpChg chg="add del">
          <ac:chgData name="Hiram Fleitas" userId="461d7124ec7a38ad" providerId="LiveId" clId="{3663DC05-B761-4AF0-89BB-24376A01088A}" dt="2019-04-24T00:28:12.689" v="168" actId="478"/>
          <ac:grpSpMkLst>
            <pc:docMk/>
            <pc:sldMk cId="1221746463" sldId="609"/>
            <ac:grpSpMk id="6" creationId="{B17469BE-583C-49BA-9431-B438F454A802}"/>
          </ac:grpSpMkLst>
        </pc:grpChg>
        <pc:grpChg chg="add">
          <ac:chgData name="Hiram Fleitas" userId="461d7124ec7a38ad" providerId="LiveId" clId="{3663DC05-B761-4AF0-89BB-24376A01088A}" dt="2019-04-24T00:28:13.024" v="169"/>
          <ac:grpSpMkLst>
            <pc:docMk/>
            <pc:sldMk cId="1221746463" sldId="609"/>
            <ac:grpSpMk id="10" creationId="{1A52DA05-8ED1-4079-A8E5-72358E51F061}"/>
          </ac:grpSpMkLst>
        </pc:grpChg>
        <pc:picChg chg="del">
          <ac:chgData name="Hiram Fleitas" userId="461d7124ec7a38ad" providerId="LiveId" clId="{3663DC05-B761-4AF0-89BB-24376A01088A}" dt="2019-04-24T00:26:56.921" v="155" actId="478"/>
          <ac:picMkLst>
            <pc:docMk/>
            <pc:sldMk cId="1221746463" sldId="609"/>
            <ac:picMk id="17" creationId="{95251286-BA74-4323-8B70-EADD5FDCCC42}"/>
          </ac:picMkLst>
        </pc:picChg>
      </pc:sldChg>
      <pc:sldChg chg="addSp delSp">
        <pc:chgData name="Hiram Fleitas" userId="461d7124ec7a38ad" providerId="LiveId" clId="{3663DC05-B761-4AF0-89BB-24376A01088A}" dt="2019-04-24T00:28:06.082" v="167"/>
        <pc:sldMkLst>
          <pc:docMk/>
          <pc:sldMk cId="668275305" sldId="611"/>
        </pc:sldMkLst>
        <pc:grpChg chg="add del">
          <ac:chgData name="Hiram Fleitas" userId="461d7124ec7a38ad" providerId="LiveId" clId="{3663DC05-B761-4AF0-89BB-24376A01088A}" dt="2019-04-24T00:27:35.747" v="162" actId="478"/>
          <ac:grpSpMkLst>
            <pc:docMk/>
            <pc:sldMk cId="668275305" sldId="611"/>
            <ac:grpSpMk id="5" creationId="{6B9B05AA-BA8C-48A6-B561-FD6C90AD0D93}"/>
          </ac:grpSpMkLst>
        </pc:grpChg>
        <pc:grpChg chg="add">
          <ac:chgData name="Hiram Fleitas" userId="461d7124ec7a38ad" providerId="LiveId" clId="{3663DC05-B761-4AF0-89BB-24376A01088A}" dt="2019-04-24T00:28:06.082" v="167"/>
          <ac:grpSpMkLst>
            <pc:docMk/>
            <pc:sldMk cId="668275305" sldId="611"/>
            <ac:grpSpMk id="9" creationId="{53D8FE57-7D70-4296-9583-8102770E28C6}"/>
          </ac:grpSpMkLst>
        </pc:grpChg>
        <pc:picChg chg="del">
          <ac:chgData name="Hiram Fleitas" userId="461d7124ec7a38ad" providerId="LiveId" clId="{3663DC05-B761-4AF0-89BB-24376A01088A}" dt="2019-04-24T00:27:01.321" v="157" actId="478"/>
          <ac:picMkLst>
            <pc:docMk/>
            <pc:sldMk cId="668275305" sldId="611"/>
            <ac:picMk id="12" creationId="{218BADB7-B8D9-4FC5-8808-D11356A04E40}"/>
          </ac:picMkLst>
        </pc:picChg>
      </pc:sldChg>
      <pc:sldChg chg="addSp delSp">
        <pc:chgData name="Hiram Fleitas" userId="461d7124ec7a38ad" providerId="LiveId" clId="{3663DC05-B761-4AF0-89BB-24376A01088A}" dt="2019-04-24T00:28:00.817" v="165"/>
        <pc:sldMkLst>
          <pc:docMk/>
          <pc:sldMk cId="3719095227" sldId="612"/>
        </pc:sldMkLst>
        <pc:grpChg chg="del">
          <ac:chgData name="Hiram Fleitas" userId="461d7124ec7a38ad" providerId="LiveId" clId="{3663DC05-B761-4AF0-89BB-24376A01088A}" dt="2019-04-24T00:27:45.727" v="164" actId="478"/>
          <ac:grpSpMkLst>
            <pc:docMk/>
            <pc:sldMk cId="3719095227" sldId="612"/>
            <ac:grpSpMk id="9" creationId="{FEE8325E-D5D8-4983-A1DA-BCC8CC926D48}"/>
          </ac:grpSpMkLst>
        </pc:grpChg>
        <pc:grpChg chg="add">
          <ac:chgData name="Hiram Fleitas" userId="461d7124ec7a38ad" providerId="LiveId" clId="{3663DC05-B761-4AF0-89BB-24376A01088A}" dt="2019-04-24T00:28:00.817" v="165"/>
          <ac:grpSpMkLst>
            <pc:docMk/>
            <pc:sldMk cId="3719095227" sldId="612"/>
            <ac:grpSpMk id="13" creationId="{F4305B99-6DAD-4B6F-9A51-9F13FCE1C271}"/>
          </ac:grpSpMkLst>
        </pc:grpChg>
      </pc:sldChg>
      <pc:sldChg chg="addSp modSp modNotesTx">
        <pc:chgData name="Hiram Fleitas" userId="461d7124ec7a38ad" providerId="LiveId" clId="{3663DC05-B761-4AF0-89BB-24376A01088A}" dt="2019-04-24T13:27:53.373" v="509" actId="20577"/>
        <pc:sldMkLst>
          <pc:docMk/>
          <pc:sldMk cId="399840568" sldId="614"/>
        </pc:sldMkLst>
        <pc:spChg chg="add mod">
          <ac:chgData name="Hiram Fleitas" userId="461d7124ec7a38ad" providerId="LiveId" clId="{3663DC05-B761-4AF0-89BB-24376A01088A}" dt="2019-04-24T01:20:58.767" v="405" actId="1076"/>
          <ac:spMkLst>
            <pc:docMk/>
            <pc:sldMk cId="399840568" sldId="614"/>
            <ac:spMk id="7" creationId="{470C6D7B-1038-4DDE-866D-9D384A74E349}"/>
          </ac:spMkLst>
        </pc:spChg>
      </pc:sldChg>
      <pc:sldChg chg="del">
        <pc:chgData name="Hiram Fleitas" userId="461d7124ec7a38ad" providerId="LiveId" clId="{3663DC05-B761-4AF0-89BB-24376A01088A}" dt="2019-04-24T01:27:47.414" v="418" actId="2696"/>
        <pc:sldMkLst>
          <pc:docMk/>
          <pc:sldMk cId="182728105" sldId="615"/>
        </pc:sldMkLst>
      </pc:sldChg>
      <pc:sldChg chg="addSp delSp modSp">
        <pc:chgData name="Hiram Fleitas" userId="461d7124ec7a38ad" providerId="LiveId" clId="{3663DC05-B761-4AF0-89BB-24376A01088A}" dt="2019-04-24T01:25:02.830" v="417" actId="167"/>
        <pc:sldMkLst>
          <pc:docMk/>
          <pc:sldMk cId="3561583775" sldId="616"/>
        </pc:sldMkLst>
        <pc:picChg chg="add del">
          <ac:chgData name="Hiram Fleitas" userId="461d7124ec7a38ad" providerId="LiveId" clId="{3663DC05-B761-4AF0-89BB-24376A01088A}" dt="2019-04-24T01:23:53.152" v="407" actId="478"/>
          <ac:picMkLst>
            <pc:docMk/>
            <pc:sldMk cId="3561583775" sldId="616"/>
            <ac:picMk id="2" creationId="{35ABB9AA-50AD-456E-ABA4-2CCCFDC1FEC0}"/>
          </ac:picMkLst>
        </pc:picChg>
        <pc:picChg chg="add del">
          <ac:chgData name="Hiram Fleitas" userId="461d7124ec7a38ad" providerId="LiveId" clId="{3663DC05-B761-4AF0-89BB-24376A01088A}" dt="2019-04-24T01:24:14.290" v="409" actId="478"/>
          <ac:picMkLst>
            <pc:docMk/>
            <pc:sldMk cId="3561583775" sldId="616"/>
            <ac:picMk id="3" creationId="{61D66E80-5604-4AB0-861D-0DB1A3D831E0}"/>
          </ac:picMkLst>
        </pc:picChg>
        <pc:picChg chg="add del">
          <ac:chgData name="Hiram Fleitas" userId="461d7124ec7a38ad" providerId="LiveId" clId="{3663DC05-B761-4AF0-89BB-24376A01088A}" dt="2019-04-24T01:24:26.813" v="411" actId="478"/>
          <ac:picMkLst>
            <pc:docMk/>
            <pc:sldMk cId="3561583775" sldId="616"/>
            <ac:picMk id="4" creationId="{B4D2E2D3-FFB1-41ED-996D-A411FC153669}"/>
          </ac:picMkLst>
        </pc:picChg>
        <pc:picChg chg="add del">
          <ac:chgData name="Hiram Fleitas" userId="461d7124ec7a38ad" providerId="LiveId" clId="{3663DC05-B761-4AF0-89BB-24376A01088A}" dt="2019-04-24T01:24:38.326" v="413" actId="478"/>
          <ac:picMkLst>
            <pc:docMk/>
            <pc:sldMk cId="3561583775" sldId="616"/>
            <ac:picMk id="5" creationId="{06C0B7BB-2405-440A-8BA0-C34125442373}"/>
          </ac:picMkLst>
        </pc:picChg>
        <pc:picChg chg="add del">
          <ac:chgData name="Hiram Fleitas" userId="461d7124ec7a38ad" providerId="LiveId" clId="{3663DC05-B761-4AF0-89BB-24376A01088A}" dt="2019-04-24T01:24:53.422" v="415" actId="478"/>
          <ac:picMkLst>
            <pc:docMk/>
            <pc:sldMk cId="3561583775" sldId="616"/>
            <ac:picMk id="6" creationId="{D1AEFE99-5DCC-473B-9EFB-B0CA66137DA1}"/>
          </ac:picMkLst>
        </pc:picChg>
        <pc:picChg chg="add ord">
          <ac:chgData name="Hiram Fleitas" userId="461d7124ec7a38ad" providerId="LiveId" clId="{3663DC05-B761-4AF0-89BB-24376A01088A}" dt="2019-04-24T01:25:02.830" v="417" actId="167"/>
          <ac:picMkLst>
            <pc:docMk/>
            <pc:sldMk cId="3561583775" sldId="616"/>
            <ac:picMk id="7" creationId="{1E961DD3-B39C-4095-AD0C-F87E26200388}"/>
          </ac:picMkLst>
        </pc:picChg>
      </pc:sldChg>
      <pc:sldChg chg="del">
        <pc:chgData name="Hiram Fleitas" userId="461d7124ec7a38ad" providerId="LiveId" clId="{3663DC05-B761-4AF0-89BB-24376A01088A}" dt="2019-04-24T00:31:11.671" v="215" actId="2696"/>
        <pc:sldMkLst>
          <pc:docMk/>
          <pc:sldMk cId="3361488099" sldId="617"/>
        </pc:sldMkLst>
      </pc:sldChg>
      <pc:sldChg chg="del">
        <pc:chgData name="Hiram Fleitas" userId="461d7124ec7a38ad" providerId="LiveId" clId="{3663DC05-B761-4AF0-89BB-24376A01088A}" dt="2019-04-24T00:31:11.693" v="216" actId="2696"/>
        <pc:sldMkLst>
          <pc:docMk/>
          <pc:sldMk cId="1417605403" sldId="618"/>
        </pc:sldMkLst>
      </pc:sldChg>
      <pc:sldChg chg="del">
        <pc:chgData name="Hiram Fleitas" userId="461d7124ec7a38ad" providerId="LiveId" clId="{3663DC05-B761-4AF0-89BB-24376A01088A}" dt="2019-04-24T00:31:11.724" v="217" actId="2696"/>
        <pc:sldMkLst>
          <pc:docMk/>
          <pc:sldMk cId="2727497336" sldId="619"/>
        </pc:sldMkLst>
      </pc:sldChg>
      <pc:sldChg chg="del">
        <pc:chgData name="Hiram Fleitas" userId="461d7124ec7a38ad" providerId="LiveId" clId="{3663DC05-B761-4AF0-89BB-24376A01088A}" dt="2019-04-24T00:31:11.767" v="218" actId="2696"/>
        <pc:sldMkLst>
          <pc:docMk/>
          <pc:sldMk cId="696402650" sldId="620"/>
        </pc:sldMkLst>
      </pc:sldChg>
      <pc:sldChg chg="del">
        <pc:chgData name="Hiram Fleitas" userId="461d7124ec7a38ad" providerId="LiveId" clId="{3663DC05-B761-4AF0-89BB-24376A01088A}" dt="2019-04-24T00:31:11.807" v="219" actId="2696"/>
        <pc:sldMkLst>
          <pc:docMk/>
          <pc:sldMk cId="490599122" sldId="621"/>
        </pc:sldMkLst>
      </pc:sldChg>
      <pc:sldChg chg="del">
        <pc:chgData name="Hiram Fleitas" userId="461d7124ec7a38ad" providerId="LiveId" clId="{3663DC05-B761-4AF0-89BB-24376A01088A}" dt="2019-04-24T00:31:11.848" v="220" actId="2696"/>
        <pc:sldMkLst>
          <pc:docMk/>
          <pc:sldMk cId="539842437" sldId="622"/>
        </pc:sldMkLst>
      </pc:sldChg>
      <pc:sldChg chg="del">
        <pc:chgData name="Hiram Fleitas" userId="461d7124ec7a38ad" providerId="LiveId" clId="{3663DC05-B761-4AF0-89BB-24376A01088A}" dt="2019-04-24T00:31:11.891" v="221" actId="2696"/>
        <pc:sldMkLst>
          <pc:docMk/>
          <pc:sldMk cId="1827299198" sldId="623"/>
        </pc:sldMkLst>
      </pc:sldChg>
      <pc:sldChg chg="del">
        <pc:chgData name="Hiram Fleitas" userId="461d7124ec7a38ad" providerId="LiveId" clId="{3663DC05-B761-4AF0-89BB-24376A01088A}" dt="2019-04-24T00:31:11.934" v="222" actId="2696"/>
        <pc:sldMkLst>
          <pc:docMk/>
          <pc:sldMk cId="113617486" sldId="624"/>
        </pc:sldMkLst>
      </pc:sldChg>
      <pc:sldChg chg="del">
        <pc:chgData name="Hiram Fleitas" userId="461d7124ec7a38ad" providerId="LiveId" clId="{3663DC05-B761-4AF0-89BB-24376A01088A}" dt="2019-04-24T00:31:11.974" v="223" actId="2696"/>
        <pc:sldMkLst>
          <pc:docMk/>
          <pc:sldMk cId="2217207733" sldId="625"/>
        </pc:sldMkLst>
      </pc:sldChg>
      <pc:sldChg chg="del">
        <pc:chgData name="Hiram Fleitas" userId="461d7124ec7a38ad" providerId="LiveId" clId="{3663DC05-B761-4AF0-89BB-24376A01088A}" dt="2019-04-24T00:31:12.015" v="224" actId="2696"/>
        <pc:sldMkLst>
          <pc:docMk/>
          <pc:sldMk cId="2086471755" sldId="626"/>
        </pc:sldMkLst>
      </pc:sldChg>
      <pc:sldChg chg="del">
        <pc:chgData name="Hiram Fleitas" userId="461d7124ec7a38ad" providerId="LiveId" clId="{3663DC05-B761-4AF0-89BB-24376A01088A}" dt="2019-04-24T00:31:12.682" v="240" actId="2696"/>
        <pc:sldMkLst>
          <pc:docMk/>
          <pc:sldMk cId="1962135146" sldId="627"/>
        </pc:sldMkLst>
      </pc:sldChg>
      <pc:sldChg chg="del">
        <pc:chgData name="Hiram Fleitas" userId="461d7124ec7a38ad" providerId="LiveId" clId="{3663DC05-B761-4AF0-89BB-24376A01088A}" dt="2019-04-24T00:31:12.753" v="241" actId="2696"/>
        <pc:sldMkLst>
          <pc:docMk/>
          <pc:sldMk cId="198898071" sldId="628"/>
        </pc:sldMkLst>
      </pc:sldChg>
      <pc:sldChg chg="del">
        <pc:chgData name="Hiram Fleitas" userId="461d7124ec7a38ad" providerId="LiveId" clId="{3663DC05-B761-4AF0-89BB-24376A01088A}" dt="2019-04-24T00:31:12.062" v="225" actId="2696"/>
        <pc:sldMkLst>
          <pc:docMk/>
          <pc:sldMk cId="3860186809" sldId="629"/>
        </pc:sldMkLst>
      </pc:sldChg>
      <pc:sldChg chg="del">
        <pc:chgData name="Hiram Fleitas" userId="461d7124ec7a38ad" providerId="LiveId" clId="{3663DC05-B761-4AF0-89BB-24376A01088A}" dt="2019-04-24T00:31:12.141" v="227" actId="2696"/>
        <pc:sldMkLst>
          <pc:docMk/>
          <pc:sldMk cId="2365079331" sldId="630"/>
        </pc:sldMkLst>
      </pc:sldChg>
      <pc:sldChg chg="del">
        <pc:chgData name="Hiram Fleitas" userId="461d7124ec7a38ad" providerId="LiveId" clId="{3663DC05-B761-4AF0-89BB-24376A01088A}" dt="2019-04-24T00:31:12.102" v="226" actId="2696"/>
        <pc:sldMkLst>
          <pc:docMk/>
          <pc:sldMk cId="4086997974" sldId="631"/>
        </pc:sldMkLst>
      </pc:sldChg>
      <pc:sldChg chg="del">
        <pc:chgData name="Hiram Fleitas" userId="461d7124ec7a38ad" providerId="LiveId" clId="{3663DC05-B761-4AF0-89BB-24376A01088A}" dt="2019-04-24T00:31:12.188" v="228" actId="2696"/>
        <pc:sldMkLst>
          <pc:docMk/>
          <pc:sldMk cId="2390540093" sldId="632"/>
        </pc:sldMkLst>
      </pc:sldChg>
      <pc:sldChg chg="del">
        <pc:chgData name="Hiram Fleitas" userId="461d7124ec7a38ad" providerId="LiveId" clId="{3663DC05-B761-4AF0-89BB-24376A01088A}" dt="2019-04-24T00:31:12.227" v="229" actId="2696"/>
        <pc:sldMkLst>
          <pc:docMk/>
          <pc:sldMk cId="1745177719" sldId="633"/>
        </pc:sldMkLst>
      </pc:sldChg>
      <pc:sldChg chg="del">
        <pc:chgData name="Hiram Fleitas" userId="461d7124ec7a38ad" providerId="LiveId" clId="{3663DC05-B761-4AF0-89BB-24376A01088A}" dt="2019-04-24T00:31:12.310" v="231" actId="2696"/>
        <pc:sldMkLst>
          <pc:docMk/>
          <pc:sldMk cId="3320960992" sldId="634"/>
        </pc:sldMkLst>
      </pc:sldChg>
      <pc:sldChg chg="del">
        <pc:chgData name="Hiram Fleitas" userId="461d7124ec7a38ad" providerId="LiveId" clId="{3663DC05-B761-4AF0-89BB-24376A01088A}" dt="2019-04-24T00:31:12.393" v="233" actId="2696"/>
        <pc:sldMkLst>
          <pc:docMk/>
          <pc:sldMk cId="3313071216" sldId="635"/>
        </pc:sldMkLst>
      </pc:sldChg>
      <pc:sldChg chg="del">
        <pc:chgData name="Hiram Fleitas" userId="461d7124ec7a38ad" providerId="LiveId" clId="{3663DC05-B761-4AF0-89BB-24376A01088A}" dt="2019-04-24T00:31:12.434" v="234" actId="2696"/>
        <pc:sldMkLst>
          <pc:docMk/>
          <pc:sldMk cId="4090891588" sldId="636"/>
        </pc:sldMkLst>
      </pc:sldChg>
      <pc:sldChg chg="del">
        <pc:chgData name="Hiram Fleitas" userId="461d7124ec7a38ad" providerId="LiveId" clId="{3663DC05-B761-4AF0-89BB-24376A01088A}" dt="2019-04-24T00:31:12.475" v="235" actId="2696"/>
        <pc:sldMkLst>
          <pc:docMk/>
          <pc:sldMk cId="3803547962" sldId="637"/>
        </pc:sldMkLst>
      </pc:sldChg>
      <pc:sldChg chg="del">
        <pc:chgData name="Hiram Fleitas" userId="461d7124ec7a38ad" providerId="LiveId" clId="{3663DC05-B761-4AF0-89BB-24376A01088A}" dt="2019-04-24T00:31:12.515" v="236" actId="2696"/>
        <pc:sldMkLst>
          <pc:docMk/>
          <pc:sldMk cId="2779367005" sldId="638"/>
        </pc:sldMkLst>
      </pc:sldChg>
      <pc:sldChg chg="del">
        <pc:chgData name="Hiram Fleitas" userId="461d7124ec7a38ad" providerId="LiveId" clId="{3663DC05-B761-4AF0-89BB-24376A01088A}" dt="2019-04-24T00:31:12.601" v="238" actId="2696"/>
        <pc:sldMkLst>
          <pc:docMk/>
          <pc:sldMk cId="1831562036" sldId="639"/>
        </pc:sldMkLst>
      </pc:sldChg>
      <pc:sldChg chg="del">
        <pc:chgData name="Hiram Fleitas" userId="461d7124ec7a38ad" providerId="LiveId" clId="{3663DC05-B761-4AF0-89BB-24376A01088A}" dt="2019-04-24T00:31:12.267" v="230" actId="2696"/>
        <pc:sldMkLst>
          <pc:docMk/>
          <pc:sldMk cId="3202692473" sldId="640"/>
        </pc:sldMkLst>
      </pc:sldChg>
      <pc:sldChg chg="del">
        <pc:chgData name="Hiram Fleitas" userId="461d7124ec7a38ad" providerId="LiveId" clId="{3663DC05-B761-4AF0-89BB-24376A01088A}" dt="2019-04-24T00:31:12.352" v="232" actId="2696"/>
        <pc:sldMkLst>
          <pc:docMk/>
          <pc:sldMk cId="815921804" sldId="641"/>
        </pc:sldMkLst>
      </pc:sldChg>
      <pc:sldChg chg="del">
        <pc:chgData name="Hiram Fleitas" userId="461d7124ec7a38ad" providerId="LiveId" clId="{3663DC05-B761-4AF0-89BB-24376A01088A}" dt="2019-04-24T00:31:25.439" v="242" actId="2696"/>
        <pc:sldMkLst>
          <pc:docMk/>
          <pc:sldMk cId="3203610483" sldId="642"/>
        </pc:sldMkLst>
      </pc:sldChg>
      <pc:sldChg chg="del">
        <pc:chgData name="Hiram Fleitas" userId="461d7124ec7a38ad" providerId="LiveId" clId="{3663DC05-B761-4AF0-89BB-24376A01088A}" dt="2019-04-24T00:31:36.417" v="243" actId="2696"/>
        <pc:sldMkLst>
          <pc:docMk/>
          <pc:sldMk cId="2376225854" sldId="644"/>
        </pc:sldMkLst>
      </pc:sldChg>
      <pc:sldChg chg="del">
        <pc:chgData name="Hiram Fleitas" userId="461d7124ec7a38ad" providerId="LiveId" clId="{3663DC05-B761-4AF0-89BB-24376A01088A}" dt="2019-04-24T00:31:36.438" v="244" actId="2696"/>
        <pc:sldMkLst>
          <pc:docMk/>
          <pc:sldMk cId="2204269126" sldId="645"/>
        </pc:sldMkLst>
      </pc:sldChg>
      <pc:sldChg chg="del">
        <pc:chgData name="Hiram Fleitas" userId="461d7124ec7a38ad" providerId="LiveId" clId="{3663DC05-B761-4AF0-89BB-24376A01088A}" dt="2019-04-24T00:31:36.476" v="245" actId="2696"/>
        <pc:sldMkLst>
          <pc:docMk/>
          <pc:sldMk cId="80619656" sldId="646"/>
        </pc:sldMkLst>
      </pc:sldChg>
      <pc:sldChg chg="del">
        <pc:chgData name="Hiram Fleitas" userId="461d7124ec7a38ad" providerId="LiveId" clId="{3663DC05-B761-4AF0-89BB-24376A01088A}" dt="2019-04-24T00:31:36.518" v="246" actId="2696"/>
        <pc:sldMkLst>
          <pc:docMk/>
          <pc:sldMk cId="97013802" sldId="647"/>
        </pc:sldMkLst>
      </pc:sldChg>
      <pc:sldChg chg="del">
        <pc:chgData name="Hiram Fleitas" userId="461d7124ec7a38ad" providerId="LiveId" clId="{3663DC05-B761-4AF0-89BB-24376A01088A}" dt="2019-04-24T00:31:37.127" v="260" actId="2696"/>
        <pc:sldMkLst>
          <pc:docMk/>
          <pc:sldMk cId="2723794296" sldId="648"/>
        </pc:sldMkLst>
      </pc:sldChg>
      <pc:sldChg chg="del">
        <pc:chgData name="Hiram Fleitas" userId="461d7124ec7a38ad" providerId="LiveId" clId="{3663DC05-B761-4AF0-89BB-24376A01088A}" dt="2019-04-24T00:31:12.557" v="237" actId="2696"/>
        <pc:sldMkLst>
          <pc:docMk/>
          <pc:sldMk cId="1464333641" sldId="649"/>
        </pc:sldMkLst>
      </pc:sldChg>
      <pc:sldChg chg="del">
        <pc:chgData name="Hiram Fleitas" userId="461d7124ec7a38ad" providerId="LiveId" clId="{3663DC05-B761-4AF0-89BB-24376A01088A}" dt="2019-04-24T00:31:12.640" v="239" actId="2696"/>
        <pc:sldMkLst>
          <pc:docMk/>
          <pc:sldMk cId="1833771102" sldId="650"/>
        </pc:sldMkLst>
      </pc:sldChg>
      <pc:sldChg chg="del">
        <pc:chgData name="Hiram Fleitas" userId="461d7124ec7a38ad" providerId="LiveId" clId="{3663DC05-B761-4AF0-89BB-24376A01088A}" dt="2019-04-24T00:31:36.559" v="247" actId="2696"/>
        <pc:sldMkLst>
          <pc:docMk/>
          <pc:sldMk cId="1426452378" sldId="651"/>
        </pc:sldMkLst>
      </pc:sldChg>
      <pc:sldChg chg="del">
        <pc:chgData name="Hiram Fleitas" userId="461d7124ec7a38ad" providerId="LiveId" clId="{3663DC05-B761-4AF0-89BB-24376A01088A}" dt="2019-04-24T00:31:36.599" v="248" actId="2696"/>
        <pc:sldMkLst>
          <pc:docMk/>
          <pc:sldMk cId="3022865656" sldId="652"/>
        </pc:sldMkLst>
      </pc:sldChg>
      <pc:sldChg chg="del">
        <pc:chgData name="Hiram Fleitas" userId="461d7124ec7a38ad" providerId="LiveId" clId="{3663DC05-B761-4AF0-89BB-24376A01088A}" dt="2019-04-24T00:31:36.640" v="249" actId="2696"/>
        <pc:sldMkLst>
          <pc:docMk/>
          <pc:sldMk cId="2964126328" sldId="653"/>
        </pc:sldMkLst>
      </pc:sldChg>
      <pc:sldChg chg="del">
        <pc:chgData name="Hiram Fleitas" userId="461d7124ec7a38ad" providerId="LiveId" clId="{3663DC05-B761-4AF0-89BB-24376A01088A}" dt="2019-04-24T00:31:37.021" v="258" actId="2696"/>
        <pc:sldMkLst>
          <pc:docMk/>
          <pc:sldMk cId="1062091380" sldId="654"/>
        </pc:sldMkLst>
      </pc:sldChg>
      <pc:sldChg chg="del">
        <pc:chgData name="Hiram Fleitas" userId="461d7124ec7a38ad" providerId="LiveId" clId="{3663DC05-B761-4AF0-89BB-24376A01088A}" dt="2019-04-24T00:31:37.060" v="259" actId="2696"/>
        <pc:sldMkLst>
          <pc:docMk/>
          <pc:sldMk cId="2577895836" sldId="655"/>
        </pc:sldMkLst>
      </pc:sldChg>
      <pc:sldChg chg="del">
        <pc:chgData name="Hiram Fleitas" userId="461d7124ec7a38ad" providerId="LiveId" clId="{3663DC05-B761-4AF0-89BB-24376A01088A}" dt="2019-04-24T00:31:36.684" v="250" actId="2696"/>
        <pc:sldMkLst>
          <pc:docMk/>
          <pc:sldMk cId="1667022440" sldId="657"/>
        </pc:sldMkLst>
      </pc:sldChg>
      <pc:sldChg chg="del">
        <pc:chgData name="Hiram Fleitas" userId="461d7124ec7a38ad" providerId="LiveId" clId="{3663DC05-B761-4AF0-89BB-24376A01088A}" dt="2019-04-24T00:31:36.724" v="251" actId="2696"/>
        <pc:sldMkLst>
          <pc:docMk/>
          <pc:sldMk cId="1896899847" sldId="658"/>
        </pc:sldMkLst>
      </pc:sldChg>
      <pc:sldChg chg="del">
        <pc:chgData name="Hiram Fleitas" userId="461d7124ec7a38ad" providerId="LiveId" clId="{3663DC05-B761-4AF0-89BB-24376A01088A}" dt="2019-04-24T00:31:36.765" v="252" actId="2696"/>
        <pc:sldMkLst>
          <pc:docMk/>
          <pc:sldMk cId="4088791999" sldId="659"/>
        </pc:sldMkLst>
      </pc:sldChg>
      <pc:sldChg chg="del">
        <pc:chgData name="Hiram Fleitas" userId="461d7124ec7a38ad" providerId="LiveId" clId="{3663DC05-B761-4AF0-89BB-24376A01088A}" dt="2019-04-24T00:31:36.933" v="256" actId="2696"/>
        <pc:sldMkLst>
          <pc:docMk/>
          <pc:sldMk cId="3819932772" sldId="660"/>
        </pc:sldMkLst>
      </pc:sldChg>
      <pc:sldChg chg="del">
        <pc:chgData name="Hiram Fleitas" userId="461d7124ec7a38ad" providerId="LiveId" clId="{3663DC05-B761-4AF0-89BB-24376A01088A}" dt="2019-04-24T00:31:36.974" v="257" actId="2696"/>
        <pc:sldMkLst>
          <pc:docMk/>
          <pc:sldMk cId="73256554" sldId="661"/>
        </pc:sldMkLst>
      </pc:sldChg>
      <pc:sldChg chg="del">
        <pc:chgData name="Hiram Fleitas" userId="461d7124ec7a38ad" providerId="LiveId" clId="{3663DC05-B761-4AF0-89BB-24376A01088A}" dt="2019-04-24T00:31:36.808" v="253" actId="2696"/>
        <pc:sldMkLst>
          <pc:docMk/>
          <pc:sldMk cId="1917807411" sldId="662"/>
        </pc:sldMkLst>
      </pc:sldChg>
      <pc:sldChg chg="del">
        <pc:chgData name="Hiram Fleitas" userId="461d7124ec7a38ad" providerId="LiveId" clId="{3663DC05-B761-4AF0-89BB-24376A01088A}" dt="2019-04-24T00:31:36.853" v="254" actId="2696"/>
        <pc:sldMkLst>
          <pc:docMk/>
          <pc:sldMk cId="1041911975" sldId="663"/>
        </pc:sldMkLst>
      </pc:sldChg>
      <pc:sldChg chg="del">
        <pc:chgData name="Hiram Fleitas" userId="461d7124ec7a38ad" providerId="LiveId" clId="{3663DC05-B761-4AF0-89BB-24376A01088A}" dt="2019-04-24T00:31:36.892" v="255" actId="2696"/>
        <pc:sldMkLst>
          <pc:docMk/>
          <pc:sldMk cId="3008897298" sldId="664"/>
        </pc:sldMkLst>
      </pc:sldChg>
      <pc:sldChg chg="del">
        <pc:chgData name="Hiram Fleitas" userId="461d7124ec7a38ad" providerId="LiveId" clId="{3663DC05-B761-4AF0-89BB-24376A01088A}" dt="2019-04-24T00:31:51.363" v="261" actId="2696"/>
        <pc:sldMkLst>
          <pc:docMk/>
          <pc:sldMk cId="412108984" sldId="666"/>
        </pc:sldMkLst>
      </pc:sldChg>
      <pc:sldChg chg="del">
        <pc:chgData name="Hiram Fleitas" userId="461d7124ec7a38ad" providerId="LiveId" clId="{3663DC05-B761-4AF0-89BB-24376A01088A}" dt="2019-04-24T00:31:51.383" v="262" actId="2696"/>
        <pc:sldMkLst>
          <pc:docMk/>
          <pc:sldMk cId="1302877948" sldId="667"/>
        </pc:sldMkLst>
      </pc:sldChg>
      <pc:sldChg chg="del">
        <pc:chgData name="Hiram Fleitas" userId="461d7124ec7a38ad" providerId="LiveId" clId="{3663DC05-B761-4AF0-89BB-24376A01088A}" dt="2019-04-24T00:31:51.433" v="263" actId="2696"/>
        <pc:sldMkLst>
          <pc:docMk/>
          <pc:sldMk cId="2606921316" sldId="668"/>
        </pc:sldMkLst>
      </pc:sldChg>
      <pc:sldChg chg="del">
        <pc:chgData name="Hiram Fleitas" userId="461d7124ec7a38ad" providerId="LiveId" clId="{3663DC05-B761-4AF0-89BB-24376A01088A}" dt="2019-04-24T00:31:51.474" v="264" actId="2696"/>
        <pc:sldMkLst>
          <pc:docMk/>
          <pc:sldMk cId="1526980059" sldId="669"/>
        </pc:sldMkLst>
      </pc:sldChg>
      <pc:sldChg chg="del">
        <pc:chgData name="Hiram Fleitas" userId="461d7124ec7a38ad" providerId="LiveId" clId="{3663DC05-B761-4AF0-89BB-24376A01088A}" dt="2019-04-24T00:31:51.517" v="265" actId="2696"/>
        <pc:sldMkLst>
          <pc:docMk/>
          <pc:sldMk cId="3007423620" sldId="670"/>
        </pc:sldMkLst>
      </pc:sldChg>
      <pc:sldChg chg="del">
        <pc:chgData name="Hiram Fleitas" userId="461d7124ec7a38ad" providerId="LiveId" clId="{3663DC05-B761-4AF0-89BB-24376A01088A}" dt="2019-04-24T00:31:51.585" v="266" actId="2696"/>
        <pc:sldMkLst>
          <pc:docMk/>
          <pc:sldMk cId="3575276869" sldId="671"/>
        </pc:sldMkLst>
      </pc:sldChg>
      <pc:sldChg chg="del">
        <pc:chgData name="Hiram Fleitas" userId="461d7124ec7a38ad" providerId="LiveId" clId="{3663DC05-B761-4AF0-89BB-24376A01088A}" dt="2019-04-24T01:11:08.684" v="400" actId="2696"/>
        <pc:sldMkLst>
          <pc:docMk/>
          <pc:sldMk cId="867480740" sldId="673"/>
        </pc:sldMkLst>
      </pc:sldChg>
      <pc:sldChg chg="del">
        <pc:chgData name="Hiram Fleitas" userId="461d7124ec7a38ad" providerId="LiveId" clId="{3663DC05-B761-4AF0-89BB-24376A01088A}" dt="2019-04-24T01:10:19.749" v="386" actId="2696"/>
        <pc:sldMkLst>
          <pc:docMk/>
          <pc:sldMk cId="1900035828" sldId="678"/>
        </pc:sldMkLst>
      </pc:sldChg>
      <pc:sldChg chg="del">
        <pc:chgData name="Hiram Fleitas" userId="461d7124ec7a38ad" providerId="LiveId" clId="{3663DC05-B761-4AF0-89BB-24376A01088A}" dt="2019-04-24T00:32:34.592" v="267" actId="2696"/>
        <pc:sldMkLst>
          <pc:docMk/>
          <pc:sldMk cId="83772645" sldId="683"/>
        </pc:sldMkLst>
      </pc:sldChg>
      <pc:sldChg chg="del">
        <pc:chgData name="Hiram Fleitas" userId="461d7124ec7a38ad" providerId="LiveId" clId="{3663DC05-B761-4AF0-89BB-24376A01088A}" dt="2019-04-24T00:32:34.616" v="268" actId="2696"/>
        <pc:sldMkLst>
          <pc:docMk/>
          <pc:sldMk cId="659669438" sldId="684"/>
        </pc:sldMkLst>
      </pc:sldChg>
      <pc:sldChg chg="del">
        <pc:chgData name="Hiram Fleitas" userId="461d7124ec7a38ad" providerId="LiveId" clId="{3663DC05-B761-4AF0-89BB-24376A01088A}" dt="2019-04-24T01:10:34.192" v="395" actId="2696"/>
        <pc:sldMkLst>
          <pc:docMk/>
          <pc:sldMk cId="356735816" sldId="686"/>
        </pc:sldMkLst>
      </pc:sldChg>
      <pc:sldChg chg="del">
        <pc:chgData name="Hiram Fleitas" userId="461d7124ec7a38ad" providerId="LiveId" clId="{3663DC05-B761-4AF0-89BB-24376A01088A}" dt="2019-04-24T01:10:59.231" v="398" actId="2696"/>
        <pc:sldMkLst>
          <pc:docMk/>
          <pc:sldMk cId="803725692" sldId="687"/>
        </pc:sldMkLst>
      </pc:sldChg>
      <pc:sldChg chg="del">
        <pc:chgData name="Hiram Fleitas" userId="461d7124ec7a38ad" providerId="LiveId" clId="{3663DC05-B761-4AF0-89BB-24376A01088A}" dt="2019-04-24T01:11:02.074" v="399" actId="2696"/>
        <pc:sldMkLst>
          <pc:docMk/>
          <pc:sldMk cId="3495148118" sldId="688"/>
        </pc:sldMkLst>
      </pc:sldChg>
      <pc:sldChg chg="del">
        <pc:chgData name="Hiram Fleitas" userId="461d7124ec7a38ad" providerId="LiveId" clId="{3663DC05-B761-4AF0-89BB-24376A01088A}" dt="2019-04-24T01:10:35.881" v="396" actId="2696"/>
        <pc:sldMkLst>
          <pc:docMk/>
          <pc:sldMk cId="1985958693" sldId="695"/>
        </pc:sldMkLst>
      </pc:sldChg>
      <pc:sldChg chg="del">
        <pc:chgData name="Hiram Fleitas" userId="461d7124ec7a38ad" providerId="LiveId" clId="{3663DC05-B761-4AF0-89BB-24376A01088A}" dt="2019-04-24T01:10:44.713" v="397" actId="2696"/>
        <pc:sldMkLst>
          <pc:docMk/>
          <pc:sldMk cId="1713479776" sldId="696"/>
        </pc:sldMkLst>
      </pc:sldChg>
      <pc:sldChg chg="del">
        <pc:chgData name="Hiram Fleitas" userId="461d7124ec7a38ad" providerId="LiveId" clId="{3663DC05-B761-4AF0-89BB-24376A01088A}" dt="2019-04-24T01:10:27.533" v="394" actId="2696"/>
        <pc:sldMkLst>
          <pc:docMk/>
          <pc:sldMk cId="1504766887" sldId="701"/>
        </pc:sldMkLst>
      </pc:sldChg>
      <pc:sldChg chg="del">
        <pc:chgData name="Hiram Fleitas" userId="461d7124ec7a38ad" providerId="LiveId" clId="{3663DC05-B761-4AF0-89BB-24376A01088A}" dt="2019-04-24T01:10:27.518" v="393" actId="2696"/>
        <pc:sldMkLst>
          <pc:docMk/>
          <pc:sldMk cId="1851751034" sldId="702"/>
        </pc:sldMkLst>
      </pc:sldChg>
      <pc:sldChg chg="del">
        <pc:chgData name="Hiram Fleitas" userId="461d7124ec7a38ad" providerId="LiveId" clId="{3663DC05-B761-4AF0-89BB-24376A01088A}" dt="2019-04-24T01:10:27.509" v="392" actId="2696"/>
        <pc:sldMkLst>
          <pc:docMk/>
          <pc:sldMk cId="3121992879" sldId="703"/>
        </pc:sldMkLst>
      </pc:sldChg>
      <pc:sldChg chg="del">
        <pc:chgData name="Hiram Fleitas" userId="461d7124ec7a38ad" providerId="LiveId" clId="{3663DC05-B761-4AF0-89BB-24376A01088A}" dt="2019-04-24T01:10:27.488" v="390" actId="2696"/>
        <pc:sldMkLst>
          <pc:docMk/>
          <pc:sldMk cId="3233326076" sldId="704"/>
        </pc:sldMkLst>
      </pc:sldChg>
      <pc:sldChg chg="del">
        <pc:chgData name="Hiram Fleitas" userId="461d7124ec7a38ad" providerId="LiveId" clId="{3663DC05-B761-4AF0-89BB-24376A01088A}" dt="2019-04-24T01:10:27.498" v="391" actId="2696"/>
        <pc:sldMkLst>
          <pc:docMk/>
          <pc:sldMk cId="2338626378" sldId="705"/>
        </pc:sldMkLst>
      </pc:sldChg>
      <pc:sldChg chg="del">
        <pc:chgData name="Hiram Fleitas" userId="461d7124ec7a38ad" providerId="LiveId" clId="{3663DC05-B761-4AF0-89BB-24376A01088A}" dt="2019-04-24T01:10:27.479" v="389" actId="2696"/>
        <pc:sldMkLst>
          <pc:docMk/>
          <pc:sldMk cId="4106713956" sldId="706"/>
        </pc:sldMkLst>
      </pc:sldChg>
      <pc:sldChg chg="del">
        <pc:chgData name="Hiram Fleitas" userId="461d7124ec7a38ad" providerId="LiveId" clId="{3663DC05-B761-4AF0-89BB-24376A01088A}" dt="2019-04-24T01:10:15.340" v="379" actId="2696"/>
        <pc:sldMkLst>
          <pc:docMk/>
          <pc:sldMk cId="1140899547" sldId="708"/>
        </pc:sldMkLst>
      </pc:sldChg>
      <pc:sldChg chg="del">
        <pc:chgData name="Hiram Fleitas" userId="461d7124ec7a38ad" providerId="LiveId" clId="{3663DC05-B761-4AF0-89BB-24376A01088A}" dt="2019-04-24T01:10:15.626" v="384" actId="2696"/>
        <pc:sldMkLst>
          <pc:docMk/>
          <pc:sldMk cId="2026498423" sldId="709"/>
        </pc:sldMkLst>
      </pc:sldChg>
      <pc:sldChg chg="del">
        <pc:chgData name="Hiram Fleitas" userId="461d7124ec7a38ad" providerId="LiveId" clId="{3663DC05-B761-4AF0-89BB-24376A01088A}" dt="2019-04-24T01:09:58.325" v="378" actId="2696"/>
        <pc:sldMkLst>
          <pc:docMk/>
          <pc:sldMk cId="3318796447" sldId="711"/>
        </pc:sldMkLst>
      </pc:sldChg>
      <pc:sldChg chg="del">
        <pc:chgData name="Hiram Fleitas" userId="461d7124ec7a38ad" providerId="LiveId" clId="{3663DC05-B761-4AF0-89BB-24376A01088A}" dt="2019-04-24T01:10:19.759" v="387" actId="2696"/>
        <pc:sldMkLst>
          <pc:docMk/>
          <pc:sldMk cId="2349677545" sldId="715"/>
        </pc:sldMkLst>
      </pc:sldChg>
      <pc:sldChg chg="del">
        <pc:chgData name="Hiram Fleitas" userId="461d7124ec7a38ad" providerId="LiveId" clId="{3663DC05-B761-4AF0-89BB-24376A01088A}" dt="2019-04-24T01:10:19.768" v="388" actId="2696"/>
        <pc:sldMkLst>
          <pc:docMk/>
          <pc:sldMk cId="412652076" sldId="716"/>
        </pc:sldMkLst>
      </pc:sldChg>
      <pc:sldChg chg="del">
        <pc:chgData name="Hiram Fleitas" userId="461d7124ec7a38ad" providerId="LiveId" clId="{3663DC05-B761-4AF0-89BB-24376A01088A}" dt="2019-04-24T01:10:19.739" v="385" actId="2696"/>
        <pc:sldMkLst>
          <pc:docMk/>
          <pc:sldMk cId="3100161373" sldId="717"/>
        </pc:sldMkLst>
      </pc:sldChg>
      <pc:sldChg chg="del">
        <pc:chgData name="Hiram Fleitas" userId="461d7124ec7a38ad" providerId="LiveId" clId="{3663DC05-B761-4AF0-89BB-24376A01088A}" dt="2019-04-24T01:10:15.420" v="381" actId="2696"/>
        <pc:sldMkLst>
          <pc:docMk/>
          <pc:sldMk cId="1895256091" sldId="718"/>
        </pc:sldMkLst>
      </pc:sldChg>
      <pc:sldChg chg="del">
        <pc:chgData name="Hiram Fleitas" userId="461d7124ec7a38ad" providerId="LiveId" clId="{3663DC05-B761-4AF0-89BB-24376A01088A}" dt="2019-04-24T01:10:15.375" v="380" actId="2696"/>
        <pc:sldMkLst>
          <pc:docMk/>
          <pc:sldMk cId="826483510" sldId="719"/>
        </pc:sldMkLst>
      </pc:sldChg>
      <pc:sldChg chg="del">
        <pc:chgData name="Hiram Fleitas" userId="461d7124ec7a38ad" providerId="LiveId" clId="{3663DC05-B761-4AF0-89BB-24376A01088A}" dt="2019-04-24T01:10:15.502" v="382" actId="2696"/>
        <pc:sldMkLst>
          <pc:docMk/>
          <pc:sldMk cId="693809182" sldId="720"/>
        </pc:sldMkLst>
      </pc:sldChg>
      <pc:sldChg chg="del">
        <pc:chgData name="Hiram Fleitas" userId="461d7124ec7a38ad" providerId="LiveId" clId="{3663DC05-B761-4AF0-89BB-24376A01088A}" dt="2019-04-24T01:10:15.546" v="383" actId="2696"/>
        <pc:sldMkLst>
          <pc:docMk/>
          <pc:sldMk cId="3687061194" sldId="722"/>
        </pc:sldMkLst>
      </pc:sldChg>
      <pc:sldChg chg="del">
        <pc:chgData name="Hiram Fleitas" userId="461d7124ec7a38ad" providerId="LiveId" clId="{3663DC05-B761-4AF0-89BB-24376A01088A}" dt="2019-04-24T01:09:52.498" v="377" actId="2696"/>
        <pc:sldMkLst>
          <pc:docMk/>
          <pc:sldMk cId="2484420045" sldId="724"/>
        </pc:sldMkLst>
      </pc:sldChg>
      <pc:sldChg chg="del">
        <pc:chgData name="Hiram Fleitas" userId="461d7124ec7a38ad" providerId="LiveId" clId="{3663DC05-B761-4AF0-89BB-24376A01088A}" dt="2019-04-24T01:09:45.721" v="375" actId="2696"/>
        <pc:sldMkLst>
          <pc:docMk/>
          <pc:sldMk cId="2386033647" sldId="727"/>
        </pc:sldMkLst>
      </pc:sldChg>
      <pc:sldChg chg="del">
        <pc:chgData name="Hiram Fleitas" userId="461d7124ec7a38ad" providerId="LiveId" clId="{3663DC05-B761-4AF0-89BB-24376A01088A}" dt="2019-04-24T01:09:45.732" v="376" actId="2696"/>
        <pc:sldMkLst>
          <pc:docMk/>
          <pc:sldMk cId="3629348682" sldId="729"/>
        </pc:sldMkLst>
      </pc:sldChg>
      <pc:sldChg chg="del">
        <pc:chgData name="Hiram Fleitas" userId="461d7124ec7a38ad" providerId="LiveId" clId="{3663DC05-B761-4AF0-89BB-24376A01088A}" dt="2019-04-24T01:03:46.502" v="363" actId="2696"/>
        <pc:sldMkLst>
          <pc:docMk/>
          <pc:sldMk cId="2960795292" sldId="771"/>
        </pc:sldMkLst>
      </pc:sldChg>
      <pc:sldChg chg="del">
        <pc:chgData name="Hiram Fleitas" userId="461d7124ec7a38ad" providerId="LiveId" clId="{3663DC05-B761-4AF0-89BB-24376A01088A}" dt="2019-04-24T01:03:46.511" v="364" actId="2696"/>
        <pc:sldMkLst>
          <pc:docMk/>
          <pc:sldMk cId="3040513729" sldId="772"/>
        </pc:sldMkLst>
      </pc:sldChg>
      <pc:sldChg chg="del">
        <pc:chgData name="Hiram Fleitas" userId="461d7124ec7a38ad" providerId="LiveId" clId="{3663DC05-B761-4AF0-89BB-24376A01088A}" dt="2019-04-24T01:03:46.520" v="365" actId="2696"/>
        <pc:sldMkLst>
          <pc:docMk/>
          <pc:sldMk cId="100113431" sldId="773"/>
        </pc:sldMkLst>
      </pc:sldChg>
      <pc:sldChg chg="del">
        <pc:chgData name="Hiram Fleitas" userId="461d7124ec7a38ad" providerId="LiveId" clId="{3663DC05-B761-4AF0-89BB-24376A01088A}" dt="2019-04-24T01:03:46.530" v="366" actId="2696"/>
        <pc:sldMkLst>
          <pc:docMk/>
          <pc:sldMk cId="965190596" sldId="774"/>
        </pc:sldMkLst>
      </pc:sldChg>
      <pc:sldChg chg="del">
        <pc:chgData name="Hiram Fleitas" userId="461d7124ec7a38ad" providerId="LiveId" clId="{3663DC05-B761-4AF0-89BB-24376A01088A}" dt="2019-04-24T01:03:46.539" v="367" actId="2696"/>
        <pc:sldMkLst>
          <pc:docMk/>
          <pc:sldMk cId="1424674755" sldId="775"/>
        </pc:sldMkLst>
      </pc:sldChg>
      <pc:sldChg chg="del">
        <pc:chgData name="Hiram Fleitas" userId="461d7124ec7a38ad" providerId="LiveId" clId="{3663DC05-B761-4AF0-89BB-24376A01088A}" dt="2019-04-24T01:03:46.549" v="368" actId="2696"/>
        <pc:sldMkLst>
          <pc:docMk/>
          <pc:sldMk cId="2209414242" sldId="776"/>
        </pc:sldMkLst>
      </pc:sldChg>
      <pc:sldChg chg="del">
        <pc:chgData name="Hiram Fleitas" userId="461d7124ec7a38ad" providerId="LiveId" clId="{3663DC05-B761-4AF0-89BB-24376A01088A}" dt="2019-04-24T01:03:46.559" v="369" actId="2696"/>
        <pc:sldMkLst>
          <pc:docMk/>
          <pc:sldMk cId="719823036" sldId="777"/>
        </pc:sldMkLst>
      </pc:sldChg>
      <pc:sldChg chg="del">
        <pc:chgData name="Hiram Fleitas" userId="461d7124ec7a38ad" providerId="LiveId" clId="{3663DC05-B761-4AF0-89BB-24376A01088A}" dt="2019-04-24T01:03:46.569" v="370" actId="2696"/>
        <pc:sldMkLst>
          <pc:docMk/>
          <pc:sldMk cId="1922898389" sldId="778"/>
        </pc:sldMkLst>
      </pc:sldChg>
      <pc:sldChg chg="del">
        <pc:chgData name="Hiram Fleitas" userId="461d7124ec7a38ad" providerId="LiveId" clId="{3663DC05-B761-4AF0-89BB-24376A01088A}" dt="2019-04-24T01:03:46.581" v="371" actId="2696"/>
        <pc:sldMkLst>
          <pc:docMk/>
          <pc:sldMk cId="2920630477" sldId="779"/>
        </pc:sldMkLst>
      </pc:sldChg>
      <pc:sldChg chg="del">
        <pc:chgData name="Hiram Fleitas" userId="461d7124ec7a38ad" providerId="LiveId" clId="{3663DC05-B761-4AF0-89BB-24376A01088A}" dt="2019-04-24T01:03:46.592" v="372" actId="2696"/>
        <pc:sldMkLst>
          <pc:docMk/>
          <pc:sldMk cId="3617735252" sldId="780"/>
        </pc:sldMkLst>
      </pc:sldChg>
      <pc:sldChg chg="del">
        <pc:chgData name="Hiram Fleitas" userId="461d7124ec7a38ad" providerId="LiveId" clId="{3663DC05-B761-4AF0-89BB-24376A01088A}" dt="2019-04-24T01:03:46.623" v="373" actId="2696"/>
        <pc:sldMkLst>
          <pc:docMk/>
          <pc:sldMk cId="1563734881" sldId="781"/>
        </pc:sldMkLst>
      </pc:sldChg>
      <pc:sldChg chg="del">
        <pc:chgData name="Hiram Fleitas" userId="461d7124ec7a38ad" providerId="LiveId" clId="{3663DC05-B761-4AF0-89BB-24376A01088A}" dt="2019-04-24T01:03:46.634" v="374" actId="2696"/>
        <pc:sldMkLst>
          <pc:docMk/>
          <pc:sldMk cId="2575002729" sldId="782"/>
        </pc:sldMkLst>
      </pc:sldChg>
      <pc:sldChg chg="del">
        <pc:chgData name="Hiram Fleitas" userId="461d7124ec7a38ad" providerId="LiveId" clId="{3663DC05-B761-4AF0-89BB-24376A01088A}" dt="2019-04-24T01:03:46.492" v="362" actId="2696"/>
        <pc:sldMkLst>
          <pc:docMk/>
          <pc:sldMk cId="508167540" sldId="783"/>
        </pc:sldMkLst>
      </pc:sldChg>
      <pc:sldChg chg="del">
        <pc:chgData name="Hiram Fleitas" userId="461d7124ec7a38ad" providerId="LiveId" clId="{3663DC05-B761-4AF0-89BB-24376A01088A}" dt="2019-04-24T01:03:39.909" v="351" actId="2696"/>
        <pc:sldMkLst>
          <pc:docMk/>
          <pc:sldMk cId="580635097" sldId="787"/>
        </pc:sldMkLst>
      </pc:sldChg>
      <pc:sldChg chg="del">
        <pc:chgData name="Hiram Fleitas" userId="461d7124ec7a38ad" providerId="LiveId" clId="{3663DC05-B761-4AF0-89BB-24376A01088A}" dt="2019-04-24T01:03:39.928" v="353" actId="2696"/>
        <pc:sldMkLst>
          <pc:docMk/>
          <pc:sldMk cId="3378046900" sldId="791"/>
        </pc:sldMkLst>
      </pc:sldChg>
      <pc:sldChg chg="del">
        <pc:chgData name="Hiram Fleitas" userId="461d7124ec7a38ad" providerId="LiveId" clId="{3663DC05-B761-4AF0-89BB-24376A01088A}" dt="2019-04-24T01:03:39.956" v="356" actId="2696"/>
        <pc:sldMkLst>
          <pc:docMk/>
          <pc:sldMk cId="2680822183" sldId="792"/>
        </pc:sldMkLst>
      </pc:sldChg>
      <pc:sldChg chg="del">
        <pc:chgData name="Hiram Fleitas" userId="461d7124ec7a38ad" providerId="LiveId" clId="{3663DC05-B761-4AF0-89BB-24376A01088A}" dt="2019-04-24T01:03:39.919" v="352" actId="2696"/>
        <pc:sldMkLst>
          <pc:docMk/>
          <pc:sldMk cId="3462522390" sldId="793"/>
        </pc:sldMkLst>
      </pc:sldChg>
      <pc:sldChg chg="del">
        <pc:chgData name="Hiram Fleitas" userId="461d7124ec7a38ad" providerId="LiveId" clId="{3663DC05-B761-4AF0-89BB-24376A01088A}" dt="2019-04-24T01:03:39.937" v="354" actId="2696"/>
        <pc:sldMkLst>
          <pc:docMk/>
          <pc:sldMk cId="1683732310" sldId="794"/>
        </pc:sldMkLst>
      </pc:sldChg>
      <pc:sldChg chg="del">
        <pc:chgData name="Hiram Fleitas" userId="461d7124ec7a38ad" providerId="LiveId" clId="{3663DC05-B761-4AF0-89BB-24376A01088A}" dt="2019-04-24T01:03:39.947" v="355" actId="2696"/>
        <pc:sldMkLst>
          <pc:docMk/>
          <pc:sldMk cId="752068140" sldId="795"/>
        </pc:sldMkLst>
      </pc:sldChg>
      <pc:sldChg chg="del">
        <pc:chgData name="Hiram Fleitas" userId="461d7124ec7a38ad" providerId="LiveId" clId="{3663DC05-B761-4AF0-89BB-24376A01088A}" dt="2019-04-24T01:03:39.968" v="357" actId="2696"/>
        <pc:sldMkLst>
          <pc:docMk/>
          <pc:sldMk cId="2173280881" sldId="796"/>
        </pc:sldMkLst>
      </pc:sldChg>
      <pc:sldChg chg="del">
        <pc:chgData name="Hiram Fleitas" userId="461d7124ec7a38ad" providerId="LiveId" clId="{3663DC05-B761-4AF0-89BB-24376A01088A}" dt="2019-04-24T01:03:39.900" v="350" actId="2696"/>
        <pc:sldMkLst>
          <pc:docMk/>
          <pc:sldMk cId="633592118" sldId="797"/>
        </pc:sldMkLst>
      </pc:sldChg>
      <pc:sldChg chg="del">
        <pc:chgData name="Hiram Fleitas" userId="461d7124ec7a38ad" providerId="LiveId" clId="{3663DC05-B761-4AF0-89BB-24376A01088A}" dt="2019-04-24T01:03:39.979" v="358" actId="2696"/>
        <pc:sldMkLst>
          <pc:docMk/>
          <pc:sldMk cId="4287644084" sldId="799"/>
        </pc:sldMkLst>
      </pc:sldChg>
      <pc:sldChg chg="del">
        <pc:chgData name="Hiram Fleitas" userId="461d7124ec7a38ad" providerId="LiveId" clId="{3663DC05-B761-4AF0-89BB-24376A01088A}" dt="2019-04-24T01:03:39.998" v="359" actId="2696"/>
        <pc:sldMkLst>
          <pc:docMk/>
          <pc:sldMk cId="1678437411" sldId="800"/>
        </pc:sldMkLst>
      </pc:sldChg>
      <pc:sldChg chg="del">
        <pc:chgData name="Hiram Fleitas" userId="461d7124ec7a38ad" providerId="LiveId" clId="{3663DC05-B761-4AF0-89BB-24376A01088A}" dt="2019-04-24T01:03:40.008" v="360" actId="2696"/>
        <pc:sldMkLst>
          <pc:docMk/>
          <pc:sldMk cId="1772101788" sldId="801"/>
        </pc:sldMkLst>
      </pc:sldChg>
      <pc:sldChg chg="del">
        <pc:chgData name="Hiram Fleitas" userId="461d7124ec7a38ad" providerId="LiveId" clId="{3663DC05-B761-4AF0-89BB-24376A01088A}" dt="2019-04-24T01:03:40.040" v="361" actId="2696"/>
        <pc:sldMkLst>
          <pc:docMk/>
          <pc:sldMk cId="3388052000" sldId="802"/>
        </pc:sldMkLst>
      </pc:sldChg>
      <pc:sldChg chg="del">
        <pc:chgData name="Hiram Fleitas" userId="461d7124ec7a38ad" providerId="LiveId" clId="{3663DC05-B761-4AF0-89BB-24376A01088A}" dt="2019-04-24T01:48:56.456" v="508" actId="2696"/>
        <pc:sldMkLst>
          <pc:docMk/>
          <pc:sldMk cId="3393088336" sldId="820"/>
        </pc:sldMkLst>
      </pc:sldChg>
      <pc:sldChg chg="modNotesTx">
        <pc:chgData name="Hiram Fleitas" userId="461d7124ec7a38ad" providerId="LiveId" clId="{3663DC05-B761-4AF0-89BB-24376A01088A}" dt="2019-04-24T01:47:36.952" v="504" actId="20577"/>
        <pc:sldMkLst>
          <pc:docMk/>
          <pc:sldMk cId="881483197" sldId="824"/>
        </pc:sldMkLst>
      </pc:sldChg>
      <pc:sldChg chg="del">
        <pc:chgData name="Hiram Fleitas" userId="461d7124ec7a38ad" providerId="LiveId" clId="{3663DC05-B761-4AF0-89BB-24376A01088A}" dt="2019-04-24T01:48:56.407" v="507" actId="2696"/>
        <pc:sldMkLst>
          <pc:docMk/>
          <pc:sldMk cId="3271595099" sldId="826"/>
        </pc:sldMkLst>
      </pc:sldChg>
      <pc:sldChg chg="del">
        <pc:chgData name="Hiram Fleitas" userId="461d7124ec7a38ad" providerId="LiveId" clId="{3663DC05-B761-4AF0-89BB-24376A01088A}" dt="2019-04-24T01:03:14.695" v="335" actId="2696"/>
        <pc:sldMkLst>
          <pc:docMk/>
          <pc:sldMk cId="2615025588" sldId="834"/>
        </pc:sldMkLst>
      </pc:sldChg>
      <pc:sldChg chg="del">
        <pc:chgData name="Hiram Fleitas" userId="461d7124ec7a38ad" providerId="LiveId" clId="{3663DC05-B761-4AF0-89BB-24376A01088A}" dt="2019-04-24T01:03:14.760" v="341" actId="2696"/>
        <pc:sldMkLst>
          <pc:docMk/>
          <pc:sldMk cId="2956051333" sldId="835"/>
        </pc:sldMkLst>
      </pc:sldChg>
      <pc:sldChg chg="del">
        <pc:chgData name="Hiram Fleitas" userId="461d7124ec7a38ad" providerId="LiveId" clId="{3663DC05-B761-4AF0-89BB-24376A01088A}" dt="2019-04-24T01:03:14.782" v="343" actId="2696"/>
        <pc:sldMkLst>
          <pc:docMk/>
          <pc:sldMk cId="1353628093" sldId="836"/>
        </pc:sldMkLst>
      </pc:sldChg>
      <pc:sldChg chg="del">
        <pc:chgData name="Hiram Fleitas" userId="461d7124ec7a38ad" providerId="LiveId" clId="{3663DC05-B761-4AF0-89BB-24376A01088A}" dt="2019-04-24T01:03:14.705" v="336" actId="2696"/>
        <pc:sldMkLst>
          <pc:docMk/>
          <pc:sldMk cId="546261619" sldId="838"/>
        </pc:sldMkLst>
      </pc:sldChg>
      <pc:sldChg chg="del">
        <pc:chgData name="Hiram Fleitas" userId="461d7124ec7a38ad" providerId="LiveId" clId="{3663DC05-B761-4AF0-89BB-24376A01088A}" dt="2019-04-24T01:03:14.716" v="337" actId="2696"/>
        <pc:sldMkLst>
          <pc:docMk/>
          <pc:sldMk cId="3713678307" sldId="839"/>
        </pc:sldMkLst>
      </pc:sldChg>
      <pc:sldChg chg="del">
        <pc:chgData name="Hiram Fleitas" userId="461d7124ec7a38ad" providerId="LiveId" clId="{3663DC05-B761-4AF0-89BB-24376A01088A}" dt="2019-04-24T01:03:14.726" v="338" actId="2696"/>
        <pc:sldMkLst>
          <pc:docMk/>
          <pc:sldMk cId="166227406" sldId="841"/>
        </pc:sldMkLst>
      </pc:sldChg>
      <pc:sldChg chg="del">
        <pc:chgData name="Hiram Fleitas" userId="461d7124ec7a38ad" providerId="LiveId" clId="{3663DC05-B761-4AF0-89BB-24376A01088A}" dt="2019-04-24T01:03:14.735" v="339" actId="2696"/>
        <pc:sldMkLst>
          <pc:docMk/>
          <pc:sldMk cId="4205987989" sldId="842"/>
        </pc:sldMkLst>
      </pc:sldChg>
      <pc:sldChg chg="del">
        <pc:chgData name="Hiram Fleitas" userId="461d7124ec7a38ad" providerId="LiveId" clId="{3663DC05-B761-4AF0-89BB-24376A01088A}" dt="2019-04-24T01:03:14.748" v="340" actId="2696"/>
        <pc:sldMkLst>
          <pc:docMk/>
          <pc:sldMk cId="296655999" sldId="843"/>
        </pc:sldMkLst>
      </pc:sldChg>
      <pc:sldChg chg="del">
        <pc:chgData name="Hiram Fleitas" userId="461d7124ec7a38ad" providerId="LiveId" clId="{3663DC05-B761-4AF0-89BB-24376A01088A}" dt="2019-04-24T01:03:14.770" v="342" actId="2696"/>
        <pc:sldMkLst>
          <pc:docMk/>
          <pc:sldMk cId="641806034" sldId="844"/>
        </pc:sldMkLst>
      </pc:sldChg>
      <pc:sldChg chg="del">
        <pc:chgData name="Hiram Fleitas" userId="461d7124ec7a38ad" providerId="LiveId" clId="{3663DC05-B761-4AF0-89BB-24376A01088A}" dt="2019-04-24T01:03:14.793" v="344" actId="2696"/>
        <pc:sldMkLst>
          <pc:docMk/>
          <pc:sldMk cId="2902267535" sldId="846"/>
        </pc:sldMkLst>
      </pc:sldChg>
      <pc:sldChg chg="del">
        <pc:chgData name="Hiram Fleitas" userId="461d7124ec7a38ad" providerId="LiveId" clId="{3663DC05-B761-4AF0-89BB-24376A01088A}" dt="2019-04-24T01:03:14.806" v="345" actId="2696"/>
        <pc:sldMkLst>
          <pc:docMk/>
          <pc:sldMk cId="3583082787" sldId="847"/>
        </pc:sldMkLst>
      </pc:sldChg>
      <pc:sldChg chg="del">
        <pc:chgData name="Hiram Fleitas" userId="461d7124ec7a38ad" providerId="LiveId" clId="{3663DC05-B761-4AF0-89BB-24376A01088A}" dt="2019-04-24T01:03:14.685" v="334" actId="2696"/>
        <pc:sldMkLst>
          <pc:docMk/>
          <pc:sldMk cId="1248577175" sldId="848"/>
        </pc:sldMkLst>
      </pc:sldChg>
      <pc:sldChg chg="del">
        <pc:chgData name="Hiram Fleitas" userId="461d7124ec7a38ad" providerId="LiveId" clId="{3663DC05-B761-4AF0-89BB-24376A01088A}" dt="2019-04-24T01:03:00.281" v="328" actId="2696"/>
        <pc:sldMkLst>
          <pc:docMk/>
          <pc:sldMk cId="312599320" sldId="859"/>
        </pc:sldMkLst>
      </pc:sldChg>
      <pc:sldChg chg="del">
        <pc:chgData name="Hiram Fleitas" userId="461d7124ec7a38ad" providerId="LiveId" clId="{3663DC05-B761-4AF0-89BB-24376A01088A}" dt="2019-04-24T01:03:14.820" v="346" actId="2696"/>
        <pc:sldMkLst>
          <pc:docMk/>
          <pc:sldMk cId="819267255" sldId="868"/>
        </pc:sldMkLst>
      </pc:sldChg>
      <pc:sldChg chg="del">
        <pc:chgData name="Hiram Fleitas" userId="461d7124ec7a38ad" providerId="LiveId" clId="{3663DC05-B761-4AF0-89BB-24376A01088A}" dt="2019-04-24T01:03:14.832" v="347" actId="2696"/>
        <pc:sldMkLst>
          <pc:docMk/>
          <pc:sldMk cId="2354067549" sldId="869"/>
        </pc:sldMkLst>
      </pc:sldChg>
      <pc:sldChg chg="del">
        <pc:chgData name="Hiram Fleitas" userId="461d7124ec7a38ad" providerId="LiveId" clId="{3663DC05-B761-4AF0-89BB-24376A01088A}" dt="2019-04-24T01:03:14.874" v="349" actId="2696"/>
        <pc:sldMkLst>
          <pc:docMk/>
          <pc:sldMk cId="2047219567" sldId="870"/>
        </pc:sldMkLst>
      </pc:sldChg>
      <pc:sldChg chg="del">
        <pc:chgData name="Hiram Fleitas" userId="461d7124ec7a38ad" providerId="LiveId" clId="{3663DC05-B761-4AF0-89BB-24376A01088A}" dt="2019-04-24T01:03:14.845" v="348" actId="2696"/>
        <pc:sldMkLst>
          <pc:docMk/>
          <pc:sldMk cId="61003812" sldId="872"/>
        </pc:sldMkLst>
      </pc:sldChg>
      <pc:sldChg chg="del">
        <pc:chgData name="Hiram Fleitas" userId="461d7124ec7a38ad" providerId="LiveId" clId="{3663DC05-B761-4AF0-89BB-24376A01088A}" dt="2019-04-24T01:03:00.169" v="318" actId="2696"/>
        <pc:sldMkLst>
          <pc:docMk/>
          <pc:sldMk cId="322454047" sldId="874"/>
        </pc:sldMkLst>
      </pc:sldChg>
      <pc:sldChg chg="del">
        <pc:chgData name="Hiram Fleitas" userId="461d7124ec7a38ad" providerId="LiveId" clId="{3663DC05-B761-4AF0-89BB-24376A01088A}" dt="2019-04-24T01:03:00.216" v="322" actId="2696"/>
        <pc:sldMkLst>
          <pc:docMk/>
          <pc:sldMk cId="1872862316" sldId="875"/>
        </pc:sldMkLst>
      </pc:sldChg>
      <pc:sldChg chg="del">
        <pc:chgData name="Hiram Fleitas" userId="461d7124ec7a38ad" providerId="LiveId" clId="{3663DC05-B761-4AF0-89BB-24376A01088A}" dt="2019-04-24T01:03:00.272" v="327" actId="2696"/>
        <pc:sldMkLst>
          <pc:docMk/>
          <pc:sldMk cId="3131924041" sldId="876"/>
        </pc:sldMkLst>
      </pc:sldChg>
      <pc:sldChg chg="del">
        <pc:chgData name="Hiram Fleitas" userId="461d7124ec7a38ad" providerId="LiveId" clId="{3663DC05-B761-4AF0-89BB-24376A01088A}" dt="2019-04-24T01:03:00.039" v="308" actId="2696"/>
        <pc:sldMkLst>
          <pc:docMk/>
          <pc:sldMk cId="1035621312" sldId="893"/>
        </pc:sldMkLst>
      </pc:sldChg>
      <pc:sldChg chg="del">
        <pc:chgData name="Hiram Fleitas" userId="461d7124ec7a38ad" providerId="LiveId" clId="{3663DC05-B761-4AF0-89BB-24376A01088A}" dt="2019-04-24T01:03:00.053" v="309" actId="2696"/>
        <pc:sldMkLst>
          <pc:docMk/>
          <pc:sldMk cId="3107165677" sldId="894"/>
        </pc:sldMkLst>
      </pc:sldChg>
      <pc:sldChg chg="del">
        <pc:chgData name="Hiram Fleitas" userId="461d7124ec7a38ad" providerId="LiveId" clId="{3663DC05-B761-4AF0-89BB-24376A01088A}" dt="2019-04-24T01:03:00.067" v="310" actId="2696"/>
        <pc:sldMkLst>
          <pc:docMk/>
          <pc:sldMk cId="2396836483" sldId="895"/>
        </pc:sldMkLst>
      </pc:sldChg>
      <pc:sldChg chg="del">
        <pc:chgData name="Hiram Fleitas" userId="461d7124ec7a38ad" providerId="LiveId" clId="{3663DC05-B761-4AF0-89BB-24376A01088A}" dt="2019-04-24T01:03:00.079" v="311" actId="2696"/>
        <pc:sldMkLst>
          <pc:docMk/>
          <pc:sldMk cId="1223587631" sldId="896"/>
        </pc:sldMkLst>
      </pc:sldChg>
      <pc:sldChg chg="del">
        <pc:chgData name="Hiram Fleitas" userId="461d7124ec7a38ad" providerId="LiveId" clId="{3663DC05-B761-4AF0-89BB-24376A01088A}" dt="2019-04-24T01:03:00.092" v="312" actId="2696"/>
        <pc:sldMkLst>
          <pc:docMk/>
          <pc:sldMk cId="3394580099" sldId="897"/>
        </pc:sldMkLst>
      </pc:sldChg>
      <pc:sldChg chg="del">
        <pc:chgData name="Hiram Fleitas" userId="461d7124ec7a38ad" providerId="LiveId" clId="{3663DC05-B761-4AF0-89BB-24376A01088A}" dt="2019-04-24T01:03:00.107" v="313" actId="2696"/>
        <pc:sldMkLst>
          <pc:docMk/>
          <pc:sldMk cId="72076100" sldId="898"/>
        </pc:sldMkLst>
      </pc:sldChg>
      <pc:sldChg chg="del">
        <pc:chgData name="Hiram Fleitas" userId="461d7124ec7a38ad" providerId="LiveId" clId="{3663DC05-B761-4AF0-89BB-24376A01088A}" dt="2019-04-24T01:03:00.117" v="314" actId="2696"/>
        <pc:sldMkLst>
          <pc:docMk/>
          <pc:sldMk cId="3609928696" sldId="899"/>
        </pc:sldMkLst>
      </pc:sldChg>
      <pc:sldChg chg="del">
        <pc:chgData name="Hiram Fleitas" userId="461d7124ec7a38ad" providerId="LiveId" clId="{3663DC05-B761-4AF0-89BB-24376A01088A}" dt="2019-04-24T01:03:00.132" v="315" actId="2696"/>
        <pc:sldMkLst>
          <pc:docMk/>
          <pc:sldMk cId="1948642227" sldId="900"/>
        </pc:sldMkLst>
      </pc:sldChg>
      <pc:sldChg chg="del">
        <pc:chgData name="Hiram Fleitas" userId="461d7124ec7a38ad" providerId="LiveId" clId="{3663DC05-B761-4AF0-89BB-24376A01088A}" dt="2019-04-24T01:03:00.144" v="316" actId="2696"/>
        <pc:sldMkLst>
          <pc:docMk/>
          <pc:sldMk cId="2026748099" sldId="901"/>
        </pc:sldMkLst>
      </pc:sldChg>
      <pc:sldChg chg="del">
        <pc:chgData name="Hiram Fleitas" userId="461d7124ec7a38ad" providerId="LiveId" clId="{3663DC05-B761-4AF0-89BB-24376A01088A}" dt="2019-04-24T01:03:00.154" v="317" actId="2696"/>
        <pc:sldMkLst>
          <pc:docMk/>
          <pc:sldMk cId="1295705347" sldId="902"/>
        </pc:sldMkLst>
      </pc:sldChg>
      <pc:sldChg chg="del">
        <pc:chgData name="Hiram Fleitas" userId="461d7124ec7a38ad" providerId="LiveId" clId="{3663DC05-B761-4AF0-89BB-24376A01088A}" dt="2019-04-24T01:03:00.181" v="319" actId="2696"/>
        <pc:sldMkLst>
          <pc:docMk/>
          <pc:sldMk cId="272034657" sldId="903"/>
        </pc:sldMkLst>
      </pc:sldChg>
      <pc:sldChg chg="del">
        <pc:chgData name="Hiram Fleitas" userId="461d7124ec7a38ad" providerId="LiveId" clId="{3663DC05-B761-4AF0-89BB-24376A01088A}" dt="2019-04-24T01:03:00.191" v="320" actId="2696"/>
        <pc:sldMkLst>
          <pc:docMk/>
          <pc:sldMk cId="4045351232" sldId="904"/>
        </pc:sldMkLst>
      </pc:sldChg>
      <pc:sldChg chg="del">
        <pc:chgData name="Hiram Fleitas" userId="461d7124ec7a38ad" providerId="LiveId" clId="{3663DC05-B761-4AF0-89BB-24376A01088A}" dt="2019-04-24T01:03:00.205" v="321" actId="2696"/>
        <pc:sldMkLst>
          <pc:docMk/>
          <pc:sldMk cId="2236047629" sldId="905"/>
        </pc:sldMkLst>
      </pc:sldChg>
      <pc:sldChg chg="del">
        <pc:chgData name="Hiram Fleitas" userId="461d7124ec7a38ad" providerId="LiveId" clId="{3663DC05-B761-4AF0-89BB-24376A01088A}" dt="2019-04-24T01:03:00.227" v="323" actId="2696"/>
        <pc:sldMkLst>
          <pc:docMk/>
          <pc:sldMk cId="3911573197" sldId="907"/>
        </pc:sldMkLst>
      </pc:sldChg>
      <pc:sldChg chg="del">
        <pc:chgData name="Hiram Fleitas" userId="461d7124ec7a38ad" providerId="LiveId" clId="{3663DC05-B761-4AF0-89BB-24376A01088A}" dt="2019-04-24T01:03:00.238" v="324" actId="2696"/>
        <pc:sldMkLst>
          <pc:docMk/>
          <pc:sldMk cId="156581073" sldId="908"/>
        </pc:sldMkLst>
      </pc:sldChg>
      <pc:sldChg chg="del">
        <pc:chgData name="Hiram Fleitas" userId="461d7124ec7a38ad" providerId="LiveId" clId="{3663DC05-B761-4AF0-89BB-24376A01088A}" dt="2019-04-24T01:03:00.248" v="325" actId="2696"/>
        <pc:sldMkLst>
          <pc:docMk/>
          <pc:sldMk cId="3926073369" sldId="909"/>
        </pc:sldMkLst>
      </pc:sldChg>
      <pc:sldChg chg="del">
        <pc:chgData name="Hiram Fleitas" userId="461d7124ec7a38ad" providerId="LiveId" clId="{3663DC05-B761-4AF0-89BB-24376A01088A}" dt="2019-04-24T01:03:00.258" v="326" actId="2696"/>
        <pc:sldMkLst>
          <pc:docMk/>
          <pc:sldMk cId="3115198938" sldId="910"/>
        </pc:sldMkLst>
      </pc:sldChg>
      <pc:sldChg chg="del">
        <pc:chgData name="Hiram Fleitas" userId="461d7124ec7a38ad" providerId="LiveId" clId="{3663DC05-B761-4AF0-89BB-24376A01088A}" dt="2019-04-24T01:03:00.315" v="331" actId="2696"/>
        <pc:sldMkLst>
          <pc:docMk/>
          <pc:sldMk cId="260969928" sldId="911"/>
        </pc:sldMkLst>
      </pc:sldChg>
      <pc:sldChg chg="del">
        <pc:chgData name="Hiram Fleitas" userId="461d7124ec7a38ad" providerId="LiveId" clId="{3663DC05-B761-4AF0-89BB-24376A01088A}" dt="2019-04-24T01:03:00.333" v="332" actId="2696"/>
        <pc:sldMkLst>
          <pc:docMk/>
          <pc:sldMk cId="3084789493" sldId="912"/>
        </pc:sldMkLst>
      </pc:sldChg>
      <pc:sldChg chg="del">
        <pc:chgData name="Hiram Fleitas" userId="461d7124ec7a38ad" providerId="LiveId" clId="{3663DC05-B761-4AF0-89BB-24376A01088A}" dt="2019-04-24T01:03:00.344" v="333" actId="2696"/>
        <pc:sldMkLst>
          <pc:docMk/>
          <pc:sldMk cId="3098488492" sldId="913"/>
        </pc:sldMkLst>
      </pc:sldChg>
      <pc:sldChg chg="del">
        <pc:chgData name="Hiram Fleitas" userId="461d7124ec7a38ad" providerId="LiveId" clId="{3663DC05-B761-4AF0-89BB-24376A01088A}" dt="2019-04-24T01:03:00.292" v="329" actId="2696"/>
        <pc:sldMkLst>
          <pc:docMk/>
          <pc:sldMk cId="3972205901" sldId="917"/>
        </pc:sldMkLst>
      </pc:sldChg>
      <pc:sldChg chg="del">
        <pc:chgData name="Hiram Fleitas" userId="461d7124ec7a38ad" providerId="LiveId" clId="{3663DC05-B761-4AF0-89BB-24376A01088A}" dt="2019-04-24T01:03:00.305" v="330" actId="2696"/>
        <pc:sldMkLst>
          <pc:docMk/>
          <pc:sldMk cId="3509898378" sldId="918"/>
        </pc:sldMkLst>
      </pc:sldChg>
      <pc:sldChg chg="del">
        <pc:chgData name="Hiram Fleitas" userId="461d7124ec7a38ad" providerId="LiveId" clId="{3663DC05-B761-4AF0-89BB-24376A01088A}" dt="2019-04-24T01:02:46.880" v="296" actId="2696"/>
        <pc:sldMkLst>
          <pc:docMk/>
          <pc:sldMk cId="1256562765" sldId="919"/>
        </pc:sldMkLst>
      </pc:sldChg>
      <pc:sldChg chg="del">
        <pc:chgData name="Hiram Fleitas" userId="461d7124ec7a38ad" providerId="LiveId" clId="{3663DC05-B761-4AF0-89BB-24376A01088A}" dt="2019-04-24T01:02:46.897" v="297" actId="2696"/>
        <pc:sldMkLst>
          <pc:docMk/>
          <pc:sldMk cId="572945502" sldId="920"/>
        </pc:sldMkLst>
      </pc:sldChg>
      <pc:sldChg chg="del">
        <pc:chgData name="Hiram Fleitas" userId="461d7124ec7a38ad" providerId="LiveId" clId="{3663DC05-B761-4AF0-89BB-24376A01088A}" dt="2019-04-24T01:02:46.930" v="298" actId="2696"/>
        <pc:sldMkLst>
          <pc:docMk/>
          <pc:sldMk cId="1640754747" sldId="921"/>
        </pc:sldMkLst>
      </pc:sldChg>
      <pc:sldChg chg="del">
        <pc:chgData name="Hiram Fleitas" userId="461d7124ec7a38ad" providerId="LiveId" clId="{3663DC05-B761-4AF0-89BB-24376A01088A}" dt="2019-04-24T01:02:47.003" v="299" actId="2696"/>
        <pc:sldMkLst>
          <pc:docMk/>
          <pc:sldMk cId="1533533080" sldId="922"/>
        </pc:sldMkLst>
      </pc:sldChg>
      <pc:sldChg chg="del">
        <pc:chgData name="Hiram Fleitas" userId="461d7124ec7a38ad" providerId="LiveId" clId="{3663DC05-B761-4AF0-89BB-24376A01088A}" dt="2019-04-24T01:02:47.048" v="300" actId="2696"/>
        <pc:sldMkLst>
          <pc:docMk/>
          <pc:sldMk cId="1393886360" sldId="923"/>
        </pc:sldMkLst>
      </pc:sldChg>
      <pc:sldChg chg="del">
        <pc:chgData name="Hiram Fleitas" userId="461d7124ec7a38ad" providerId="LiveId" clId="{3663DC05-B761-4AF0-89BB-24376A01088A}" dt="2019-04-24T01:02:47.127" v="301" actId="2696"/>
        <pc:sldMkLst>
          <pc:docMk/>
          <pc:sldMk cId="2162994492" sldId="924"/>
        </pc:sldMkLst>
      </pc:sldChg>
      <pc:sldChg chg="del">
        <pc:chgData name="Hiram Fleitas" userId="461d7124ec7a38ad" providerId="LiveId" clId="{3663DC05-B761-4AF0-89BB-24376A01088A}" dt="2019-04-24T01:02:47.172" v="302" actId="2696"/>
        <pc:sldMkLst>
          <pc:docMk/>
          <pc:sldMk cId="1799736488" sldId="925"/>
        </pc:sldMkLst>
      </pc:sldChg>
      <pc:sldChg chg="del">
        <pc:chgData name="Hiram Fleitas" userId="461d7124ec7a38ad" providerId="LiveId" clId="{3663DC05-B761-4AF0-89BB-24376A01088A}" dt="2019-04-24T01:02:47.255" v="303" actId="2696"/>
        <pc:sldMkLst>
          <pc:docMk/>
          <pc:sldMk cId="250253071" sldId="926"/>
        </pc:sldMkLst>
      </pc:sldChg>
      <pc:sldChg chg="del">
        <pc:chgData name="Hiram Fleitas" userId="461d7124ec7a38ad" providerId="LiveId" clId="{3663DC05-B761-4AF0-89BB-24376A01088A}" dt="2019-04-24T01:02:47.297" v="304" actId="2696"/>
        <pc:sldMkLst>
          <pc:docMk/>
          <pc:sldMk cId="3242810258" sldId="927"/>
        </pc:sldMkLst>
      </pc:sldChg>
      <pc:sldChg chg="del">
        <pc:chgData name="Hiram Fleitas" userId="461d7124ec7a38ad" providerId="LiveId" clId="{3663DC05-B761-4AF0-89BB-24376A01088A}" dt="2019-04-24T01:02:47.343" v="305" actId="2696"/>
        <pc:sldMkLst>
          <pc:docMk/>
          <pc:sldMk cId="1411151222" sldId="928"/>
        </pc:sldMkLst>
      </pc:sldChg>
      <pc:sldChg chg="del">
        <pc:chgData name="Hiram Fleitas" userId="461d7124ec7a38ad" providerId="LiveId" clId="{3663DC05-B761-4AF0-89BB-24376A01088A}" dt="2019-04-24T01:02:47.389" v="306" actId="2696"/>
        <pc:sldMkLst>
          <pc:docMk/>
          <pc:sldMk cId="1338995871" sldId="929"/>
        </pc:sldMkLst>
      </pc:sldChg>
      <pc:sldChg chg="del">
        <pc:chgData name="Hiram Fleitas" userId="461d7124ec7a38ad" providerId="LiveId" clId="{3663DC05-B761-4AF0-89BB-24376A01088A}" dt="2019-04-24T01:03:00.023" v="307" actId="2696"/>
        <pc:sldMkLst>
          <pc:docMk/>
          <pc:sldMk cId="2825248660" sldId="930"/>
        </pc:sldMkLst>
      </pc:sldChg>
      <pc:sldChg chg="addSp delSp">
        <pc:chgData name="Hiram Fleitas" userId="461d7124ec7a38ad" providerId="LiveId" clId="{3663DC05-B761-4AF0-89BB-24376A01088A}" dt="2019-04-24T00:29:46.948" v="196"/>
        <pc:sldMkLst>
          <pc:docMk/>
          <pc:sldMk cId="2868298326" sldId="937"/>
        </pc:sldMkLst>
        <pc:grpChg chg="add del">
          <ac:chgData name="Hiram Fleitas" userId="461d7124ec7a38ad" providerId="LiveId" clId="{3663DC05-B761-4AF0-89BB-24376A01088A}" dt="2019-04-24T00:29:46.425" v="195" actId="478"/>
          <ac:grpSpMkLst>
            <pc:docMk/>
            <pc:sldMk cId="2868298326" sldId="937"/>
            <ac:grpSpMk id="7" creationId="{12A34837-2684-403D-AC55-CB1F4B305CD1}"/>
          </ac:grpSpMkLst>
        </pc:grpChg>
        <pc:grpChg chg="add">
          <ac:chgData name="Hiram Fleitas" userId="461d7124ec7a38ad" providerId="LiveId" clId="{3663DC05-B761-4AF0-89BB-24376A01088A}" dt="2019-04-24T00:29:46.948" v="196"/>
          <ac:grpSpMkLst>
            <pc:docMk/>
            <pc:sldMk cId="2868298326" sldId="937"/>
            <ac:grpSpMk id="11" creationId="{391FA237-6D23-43E1-B428-4BEFA3B8E1DE}"/>
          </ac:grpSpMkLst>
        </pc:grpChg>
        <pc:picChg chg="del">
          <ac:chgData name="Hiram Fleitas" userId="461d7124ec7a38ad" providerId="LiveId" clId="{3663DC05-B761-4AF0-89BB-24376A01088A}" dt="2019-04-24T00:25:20.618" v="128" actId="478"/>
          <ac:picMkLst>
            <pc:docMk/>
            <pc:sldMk cId="2868298326" sldId="937"/>
            <ac:picMk id="14" creationId="{80A795DB-9961-4775-8663-084729700781}"/>
          </ac:picMkLst>
        </pc:picChg>
      </pc:sldChg>
      <pc:sldChg chg="addSp delSp">
        <pc:chgData name="Hiram Fleitas" userId="461d7124ec7a38ad" providerId="LiveId" clId="{3663DC05-B761-4AF0-89BB-24376A01088A}" dt="2019-04-24T00:29:37.659" v="194"/>
        <pc:sldMkLst>
          <pc:docMk/>
          <pc:sldMk cId="3157100967" sldId="938"/>
        </pc:sldMkLst>
        <pc:grpChg chg="add del">
          <ac:chgData name="Hiram Fleitas" userId="461d7124ec7a38ad" providerId="LiveId" clId="{3663DC05-B761-4AF0-89BB-24376A01088A}" dt="2019-04-24T00:29:37.177" v="193" actId="478"/>
          <ac:grpSpMkLst>
            <pc:docMk/>
            <pc:sldMk cId="3157100967" sldId="938"/>
            <ac:grpSpMk id="13" creationId="{578E6399-DB56-4D99-89BB-3955CB446E7A}"/>
          </ac:grpSpMkLst>
        </pc:grpChg>
        <pc:grpChg chg="add">
          <ac:chgData name="Hiram Fleitas" userId="461d7124ec7a38ad" providerId="LiveId" clId="{3663DC05-B761-4AF0-89BB-24376A01088A}" dt="2019-04-24T00:29:37.659" v="194"/>
          <ac:grpSpMkLst>
            <pc:docMk/>
            <pc:sldMk cId="3157100967" sldId="938"/>
            <ac:grpSpMk id="20" creationId="{1FC7A4DF-74D4-4CF5-BB4E-B5CAA7565CD4}"/>
          </ac:grpSpMkLst>
        </pc:grpChg>
        <pc:picChg chg="del">
          <ac:chgData name="Hiram Fleitas" userId="461d7124ec7a38ad" providerId="LiveId" clId="{3663DC05-B761-4AF0-89BB-24376A01088A}" dt="2019-04-24T00:25:26.145" v="130" actId="478"/>
          <ac:picMkLst>
            <pc:docMk/>
            <pc:sldMk cId="3157100967" sldId="938"/>
            <ac:picMk id="22" creationId="{D0217A04-E1E7-4F9D-A711-2CDC28B84B85}"/>
          </ac:picMkLst>
        </pc:picChg>
      </pc:sldChg>
      <pc:sldChg chg="addSp delSp">
        <pc:chgData name="Hiram Fleitas" userId="461d7124ec7a38ad" providerId="LiveId" clId="{3663DC05-B761-4AF0-89BB-24376A01088A}" dt="2019-04-24T00:28:52.501" v="182"/>
        <pc:sldMkLst>
          <pc:docMk/>
          <pc:sldMk cId="2132952452" sldId="941"/>
        </pc:sldMkLst>
        <pc:grpChg chg="add del">
          <ac:chgData name="Hiram Fleitas" userId="461d7124ec7a38ad" providerId="LiveId" clId="{3663DC05-B761-4AF0-89BB-24376A01088A}" dt="2019-04-24T00:28:52.137" v="181" actId="478"/>
          <ac:grpSpMkLst>
            <pc:docMk/>
            <pc:sldMk cId="2132952452" sldId="941"/>
            <ac:grpSpMk id="6" creationId="{EF67589D-C51D-4A65-BEEC-C106A1C05290}"/>
          </ac:grpSpMkLst>
        </pc:grpChg>
        <pc:grpChg chg="add">
          <ac:chgData name="Hiram Fleitas" userId="461d7124ec7a38ad" providerId="LiveId" clId="{3663DC05-B761-4AF0-89BB-24376A01088A}" dt="2019-04-24T00:28:52.501" v="182"/>
          <ac:grpSpMkLst>
            <pc:docMk/>
            <pc:sldMk cId="2132952452" sldId="941"/>
            <ac:grpSpMk id="10" creationId="{5AA7421A-9ABE-4EE4-B0E0-E852441478C9}"/>
          </ac:grpSpMkLst>
        </pc:grpChg>
        <pc:picChg chg="del">
          <ac:chgData name="Hiram Fleitas" userId="461d7124ec7a38ad" providerId="LiveId" clId="{3663DC05-B761-4AF0-89BB-24376A01088A}" dt="2019-04-24T00:26:07.230" v="141" actId="478"/>
          <ac:picMkLst>
            <pc:docMk/>
            <pc:sldMk cId="2132952452" sldId="941"/>
            <ac:picMk id="13" creationId="{A03092E1-B5EA-4DFF-9459-CB9DE4FD5B7F}"/>
          </ac:picMkLst>
        </pc:picChg>
      </pc:sldChg>
      <pc:sldChg chg="addSp delSp">
        <pc:chgData name="Hiram Fleitas" userId="461d7124ec7a38ad" providerId="LiveId" clId="{3663DC05-B761-4AF0-89BB-24376A01088A}" dt="2019-04-24T00:28:47.589" v="180"/>
        <pc:sldMkLst>
          <pc:docMk/>
          <pc:sldMk cId="422149466" sldId="942"/>
        </pc:sldMkLst>
        <pc:grpChg chg="add del">
          <ac:chgData name="Hiram Fleitas" userId="461d7124ec7a38ad" providerId="LiveId" clId="{3663DC05-B761-4AF0-89BB-24376A01088A}" dt="2019-04-24T00:28:47.193" v="179" actId="478"/>
          <ac:grpSpMkLst>
            <pc:docMk/>
            <pc:sldMk cId="422149466" sldId="942"/>
            <ac:grpSpMk id="6" creationId="{5AF9C952-0E13-4C8D-8BC6-EC89CFC5598E}"/>
          </ac:grpSpMkLst>
        </pc:grpChg>
        <pc:grpChg chg="add">
          <ac:chgData name="Hiram Fleitas" userId="461d7124ec7a38ad" providerId="LiveId" clId="{3663DC05-B761-4AF0-89BB-24376A01088A}" dt="2019-04-24T00:28:47.589" v="180"/>
          <ac:grpSpMkLst>
            <pc:docMk/>
            <pc:sldMk cId="422149466" sldId="942"/>
            <ac:grpSpMk id="10" creationId="{D4158F1B-BAA1-428D-A18E-62FC92378EE2}"/>
          </ac:grpSpMkLst>
        </pc:grpChg>
        <pc:picChg chg="del">
          <ac:chgData name="Hiram Fleitas" userId="461d7124ec7a38ad" providerId="LiveId" clId="{3663DC05-B761-4AF0-89BB-24376A01088A}" dt="2019-04-24T00:26:22.198" v="143" actId="478"/>
          <ac:picMkLst>
            <pc:docMk/>
            <pc:sldMk cId="422149466" sldId="942"/>
            <ac:picMk id="13" creationId="{AB797AD6-7507-49EA-8B6D-F8DD6B134F8A}"/>
          </ac:picMkLst>
        </pc:picChg>
      </pc:sldChg>
      <pc:sldChg chg="addSp delSp">
        <pc:chgData name="Hiram Fleitas" userId="461d7124ec7a38ad" providerId="LiveId" clId="{3663DC05-B761-4AF0-89BB-24376A01088A}" dt="2019-04-24T00:28:42.821" v="178"/>
        <pc:sldMkLst>
          <pc:docMk/>
          <pc:sldMk cId="3660474804" sldId="943"/>
        </pc:sldMkLst>
        <pc:grpChg chg="add del">
          <ac:chgData name="Hiram Fleitas" userId="461d7124ec7a38ad" providerId="LiveId" clId="{3663DC05-B761-4AF0-89BB-24376A01088A}" dt="2019-04-24T00:28:42.425" v="177" actId="478"/>
          <ac:grpSpMkLst>
            <pc:docMk/>
            <pc:sldMk cId="3660474804" sldId="943"/>
            <ac:grpSpMk id="6" creationId="{BDABF92A-6444-4C42-B9C0-E93771CFF5BF}"/>
          </ac:grpSpMkLst>
        </pc:grpChg>
        <pc:grpChg chg="add">
          <ac:chgData name="Hiram Fleitas" userId="461d7124ec7a38ad" providerId="LiveId" clId="{3663DC05-B761-4AF0-89BB-24376A01088A}" dt="2019-04-24T00:28:42.821" v="178"/>
          <ac:grpSpMkLst>
            <pc:docMk/>
            <pc:sldMk cId="3660474804" sldId="943"/>
            <ac:grpSpMk id="10" creationId="{E1D04EBE-6C92-446B-A7FB-3792AE6FCC83}"/>
          </ac:grpSpMkLst>
        </pc:grpChg>
        <pc:picChg chg="del">
          <ac:chgData name="Hiram Fleitas" userId="461d7124ec7a38ad" providerId="LiveId" clId="{3663DC05-B761-4AF0-89BB-24376A01088A}" dt="2019-04-24T00:26:27.783" v="145" actId="478"/>
          <ac:picMkLst>
            <pc:docMk/>
            <pc:sldMk cId="3660474804" sldId="943"/>
            <ac:picMk id="13" creationId="{D0EC1CCB-FFEF-4D55-957F-8DE4AAD9F53A}"/>
          </ac:picMkLst>
        </pc:picChg>
      </pc:sldChg>
      <pc:sldChg chg="addSp delSp">
        <pc:chgData name="Hiram Fleitas" userId="461d7124ec7a38ad" providerId="LiveId" clId="{3663DC05-B761-4AF0-89BB-24376A01088A}" dt="2019-04-24T00:28:32.869" v="176"/>
        <pc:sldMkLst>
          <pc:docMk/>
          <pc:sldMk cId="2855375308" sldId="944"/>
        </pc:sldMkLst>
        <pc:grpChg chg="add del">
          <ac:chgData name="Hiram Fleitas" userId="461d7124ec7a38ad" providerId="LiveId" clId="{3663DC05-B761-4AF0-89BB-24376A01088A}" dt="2019-04-24T00:28:32.521" v="175" actId="478"/>
          <ac:grpSpMkLst>
            <pc:docMk/>
            <pc:sldMk cId="2855375308" sldId="944"/>
            <ac:grpSpMk id="6" creationId="{53430484-8EE0-44BA-BF7B-81B6AA6F215E}"/>
          </ac:grpSpMkLst>
        </pc:grpChg>
        <pc:grpChg chg="add">
          <ac:chgData name="Hiram Fleitas" userId="461d7124ec7a38ad" providerId="LiveId" clId="{3663DC05-B761-4AF0-89BB-24376A01088A}" dt="2019-04-24T00:28:32.869" v="176"/>
          <ac:grpSpMkLst>
            <pc:docMk/>
            <pc:sldMk cId="2855375308" sldId="944"/>
            <ac:grpSpMk id="10" creationId="{1B5AE1B0-6E08-4BD8-84E2-C846186BF2C8}"/>
          </ac:grpSpMkLst>
        </pc:grpChg>
        <pc:picChg chg="del">
          <ac:chgData name="Hiram Fleitas" userId="461d7124ec7a38ad" providerId="LiveId" clId="{3663DC05-B761-4AF0-89BB-24376A01088A}" dt="2019-04-24T00:26:37.006" v="147" actId="478"/>
          <ac:picMkLst>
            <pc:docMk/>
            <pc:sldMk cId="2855375308" sldId="944"/>
            <ac:picMk id="13" creationId="{23B1BFF6-BB8E-414B-9440-C156C06AEAD9}"/>
          </ac:picMkLst>
        </pc:picChg>
      </pc:sldChg>
      <pc:sldChg chg="addSp delSp">
        <pc:chgData name="Hiram Fleitas" userId="461d7124ec7a38ad" providerId="LiveId" clId="{3663DC05-B761-4AF0-89BB-24376A01088A}" dt="2019-04-24T00:28:27.941" v="174"/>
        <pc:sldMkLst>
          <pc:docMk/>
          <pc:sldMk cId="1628316798" sldId="945"/>
        </pc:sldMkLst>
        <pc:grpChg chg="add del">
          <ac:chgData name="Hiram Fleitas" userId="461d7124ec7a38ad" providerId="LiveId" clId="{3663DC05-B761-4AF0-89BB-24376A01088A}" dt="2019-04-24T00:28:27.617" v="173" actId="478"/>
          <ac:grpSpMkLst>
            <pc:docMk/>
            <pc:sldMk cId="1628316798" sldId="945"/>
            <ac:grpSpMk id="6" creationId="{037699F9-5231-4C2B-A0CB-7A962E03BBF2}"/>
          </ac:grpSpMkLst>
        </pc:grpChg>
        <pc:grpChg chg="add">
          <ac:chgData name="Hiram Fleitas" userId="461d7124ec7a38ad" providerId="LiveId" clId="{3663DC05-B761-4AF0-89BB-24376A01088A}" dt="2019-04-24T00:28:27.941" v="174"/>
          <ac:grpSpMkLst>
            <pc:docMk/>
            <pc:sldMk cId="1628316798" sldId="945"/>
            <ac:grpSpMk id="10" creationId="{708CD916-327B-4540-A3E4-CE3C72626757}"/>
          </ac:grpSpMkLst>
        </pc:grpChg>
        <pc:picChg chg="del">
          <ac:chgData name="Hiram Fleitas" userId="461d7124ec7a38ad" providerId="LiveId" clId="{3663DC05-B761-4AF0-89BB-24376A01088A}" dt="2019-04-24T00:26:41.625" v="149" actId="478"/>
          <ac:picMkLst>
            <pc:docMk/>
            <pc:sldMk cId="1628316798" sldId="945"/>
            <ac:picMk id="13" creationId="{503EDCF5-97B5-4315-8DA8-BCF49560C9A7}"/>
          </ac:picMkLst>
        </pc:picChg>
      </pc:sldChg>
      <pc:sldChg chg="addSp delSp">
        <pc:chgData name="Hiram Fleitas" userId="461d7124ec7a38ad" providerId="LiveId" clId="{3663DC05-B761-4AF0-89BB-24376A01088A}" dt="2019-04-24T00:28:23.964" v="172"/>
        <pc:sldMkLst>
          <pc:docMk/>
          <pc:sldMk cId="2213798299" sldId="946"/>
        </pc:sldMkLst>
        <pc:grpChg chg="add del">
          <ac:chgData name="Hiram Fleitas" userId="461d7124ec7a38ad" providerId="LiveId" clId="{3663DC05-B761-4AF0-89BB-24376A01088A}" dt="2019-04-24T00:27:32.096" v="161" actId="478"/>
          <ac:grpSpMkLst>
            <pc:docMk/>
            <pc:sldMk cId="2213798299" sldId="946"/>
            <ac:grpSpMk id="6" creationId="{FCA28FF7-88EF-4D2D-83AE-6F3E6E373C56}"/>
          </ac:grpSpMkLst>
        </pc:grpChg>
        <pc:grpChg chg="add">
          <ac:chgData name="Hiram Fleitas" userId="461d7124ec7a38ad" providerId="LiveId" clId="{3663DC05-B761-4AF0-89BB-24376A01088A}" dt="2019-04-24T00:28:23.964" v="172"/>
          <ac:grpSpMkLst>
            <pc:docMk/>
            <pc:sldMk cId="2213798299" sldId="946"/>
            <ac:grpSpMk id="10" creationId="{B01D6298-26F9-4761-9045-441E1A91D642}"/>
          </ac:grpSpMkLst>
        </pc:grpChg>
        <pc:picChg chg="del">
          <ac:chgData name="Hiram Fleitas" userId="461d7124ec7a38ad" providerId="LiveId" clId="{3663DC05-B761-4AF0-89BB-24376A01088A}" dt="2019-04-24T00:26:45.953" v="151" actId="478"/>
          <ac:picMkLst>
            <pc:docMk/>
            <pc:sldMk cId="2213798299" sldId="946"/>
            <ac:picMk id="13" creationId="{8D17FD36-D7C1-49E6-BAD4-714A0601BC85}"/>
          </ac:picMkLst>
        </pc:picChg>
      </pc:sldChg>
      <pc:sldChg chg="addSp delSp">
        <pc:chgData name="Hiram Fleitas" userId="461d7124ec7a38ad" providerId="LiveId" clId="{3663DC05-B761-4AF0-89BB-24376A01088A}" dt="2019-04-24T00:29:24.906" v="192"/>
        <pc:sldMkLst>
          <pc:docMk/>
          <pc:sldMk cId="2489766288" sldId="947"/>
        </pc:sldMkLst>
        <pc:grpChg chg="add del">
          <ac:chgData name="Hiram Fleitas" userId="461d7124ec7a38ad" providerId="LiveId" clId="{3663DC05-B761-4AF0-89BB-24376A01088A}" dt="2019-04-24T00:29:24.470" v="191" actId="478"/>
          <ac:grpSpMkLst>
            <pc:docMk/>
            <pc:sldMk cId="2489766288" sldId="947"/>
            <ac:grpSpMk id="13" creationId="{1C5AE7C6-6327-46DE-9C41-CB0115CB268E}"/>
          </ac:grpSpMkLst>
        </pc:grpChg>
        <pc:grpChg chg="add">
          <ac:chgData name="Hiram Fleitas" userId="461d7124ec7a38ad" providerId="LiveId" clId="{3663DC05-B761-4AF0-89BB-24376A01088A}" dt="2019-04-24T00:29:24.906" v="192"/>
          <ac:grpSpMkLst>
            <pc:docMk/>
            <pc:sldMk cId="2489766288" sldId="947"/>
            <ac:grpSpMk id="22" creationId="{F8457A0C-D7D7-491F-B8C8-47728D1C61A9}"/>
          </ac:grpSpMkLst>
        </pc:grpChg>
        <pc:picChg chg="del">
          <ac:chgData name="Hiram Fleitas" userId="461d7124ec7a38ad" providerId="LiveId" clId="{3663DC05-B761-4AF0-89BB-24376A01088A}" dt="2019-04-24T00:25:30.682" v="132" actId="478"/>
          <ac:picMkLst>
            <pc:docMk/>
            <pc:sldMk cId="2489766288" sldId="947"/>
            <ac:picMk id="19" creationId="{1752F875-612A-4505-BEE4-E95B926616B8}"/>
          </ac:picMkLst>
        </pc:picChg>
      </pc:sldChg>
      <pc:sldChg chg="addSp delSp">
        <pc:chgData name="Hiram Fleitas" userId="461d7124ec7a38ad" providerId="LiveId" clId="{3663DC05-B761-4AF0-89BB-24376A01088A}" dt="2019-04-24T00:28:03.881" v="166"/>
        <pc:sldMkLst>
          <pc:docMk/>
          <pc:sldMk cId="1682049604" sldId="948"/>
        </pc:sldMkLst>
        <pc:grpChg chg="add del">
          <ac:chgData name="Hiram Fleitas" userId="461d7124ec7a38ad" providerId="LiveId" clId="{3663DC05-B761-4AF0-89BB-24376A01088A}" dt="2019-04-24T00:27:41.449" v="163" actId="478"/>
          <ac:grpSpMkLst>
            <pc:docMk/>
            <pc:sldMk cId="1682049604" sldId="948"/>
            <ac:grpSpMk id="5" creationId="{31B6D60C-90B8-4A0F-BF34-F8F23F351E8F}"/>
          </ac:grpSpMkLst>
        </pc:grpChg>
        <pc:grpChg chg="add">
          <ac:chgData name="Hiram Fleitas" userId="461d7124ec7a38ad" providerId="LiveId" clId="{3663DC05-B761-4AF0-89BB-24376A01088A}" dt="2019-04-24T00:28:03.881" v="166"/>
          <ac:grpSpMkLst>
            <pc:docMk/>
            <pc:sldMk cId="1682049604" sldId="948"/>
            <ac:grpSpMk id="9" creationId="{0DA11198-81EE-4B81-BBD4-2B04D5FAD663}"/>
          </ac:grpSpMkLst>
        </pc:grpChg>
        <pc:picChg chg="del">
          <ac:chgData name="Hiram Fleitas" userId="461d7124ec7a38ad" providerId="LiveId" clId="{3663DC05-B761-4AF0-89BB-24376A01088A}" dt="2019-04-24T00:27:06.490" v="159" actId="478"/>
          <ac:picMkLst>
            <pc:docMk/>
            <pc:sldMk cId="1682049604" sldId="948"/>
            <ac:picMk id="12" creationId="{218BADB7-B8D9-4FC5-8808-D11356A04E40}"/>
          </ac:picMkLst>
        </pc:picChg>
      </pc:sldChg>
      <pc:sldChg chg="addSp delSp modSp add del">
        <pc:chgData name="Hiram Fleitas" userId="461d7124ec7a38ad" providerId="LiveId" clId="{3663DC05-B761-4AF0-89BB-24376A01088A}" dt="2019-04-24T00:24:28.843" v="113" actId="2696"/>
        <pc:sldMkLst>
          <pc:docMk/>
          <pc:sldMk cId="1019335925" sldId="949"/>
        </pc:sldMkLst>
        <pc:spChg chg="del">
          <ac:chgData name="Hiram Fleitas" userId="461d7124ec7a38ad" providerId="LiveId" clId="{3663DC05-B761-4AF0-89BB-24376A01088A}" dt="2019-04-24T00:17:43.013" v="55" actId="478"/>
          <ac:spMkLst>
            <pc:docMk/>
            <pc:sldMk cId="1019335925" sldId="949"/>
            <ac:spMk id="2" creationId="{47778E71-6827-4E06-9DDB-A0BFBFC7C973}"/>
          </ac:spMkLst>
        </pc:spChg>
        <pc:spChg chg="add del mod">
          <ac:chgData name="Hiram Fleitas" userId="461d7124ec7a38ad" providerId="LiveId" clId="{3663DC05-B761-4AF0-89BB-24376A01088A}" dt="2019-04-24T00:17:45.059" v="56" actId="478"/>
          <ac:spMkLst>
            <pc:docMk/>
            <pc:sldMk cId="1019335925" sldId="949"/>
            <ac:spMk id="4" creationId="{A5A8D809-4C72-4CA4-A1DB-263429C595E6}"/>
          </ac:spMkLst>
        </pc:spChg>
        <pc:grpChg chg="add del mod">
          <ac:chgData name="Hiram Fleitas" userId="461d7124ec7a38ad" providerId="LiveId" clId="{3663DC05-B761-4AF0-89BB-24376A01088A}" dt="2019-04-24T00:22:57.709" v="106" actId="478"/>
          <ac:grpSpMkLst>
            <pc:docMk/>
            <pc:sldMk cId="1019335925" sldId="949"/>
            <ac:grpSpMk id="13" creationId="{28FCC335-FFE8-44A9-BD93-8E523CF52306}"/>
          </ac:grpSpMkLst>
        </pc:grpChg>
        <pc:grpChg chg="add del mod">
          <ac:chgData name="Hiram Fleitas" userId="461d7124ec7a38ad" providerId="LiveId" clId="{3663DC05-B761-4AF0-89BB-24376A01088A}" dt="2019-04-24T00:22:47.417" v="103"/>
          <ac:grpSpMkLst>
            <pc:docMk/>
            <pc:sldMk cId="1019335925" sldId="949"/>
            <ac:grpSpMk id="14" creationId="{FA4321F0-5B5F-40D6-8031-96072935A93E}"/>
          </ac:grpSpMkLst>
        </pc:grpChg>
        <pc:grpChg chg="add">
          <ac:chgData name="Hiram Fleitas" userId="461d7124ec7a38ad" providerId="LiveId" clId="{3663DC05-B761-4AF0-89BB-24376A01088A}" dt="2019-04-24T00:22:50.049" v="105"/>
          <ac:grpSpMkLst>
            <pc:docMk/>
            <pc:sldMk cId="1019335925" sldId="949"/>
            <ac:grpSpMk id="17" creationId="{1D22C173-F7AB-49D0-9764-B03B790198E9}"/>
          </ac:grpSpMkLst>
        </pc:grpChg>
        <pc:picChg chg="add del">
          <ac:chgData name="Hiram Fleitas" userId="461d7124ec7a38ad" providerId="LiveId" clId="{3663DC05-B761-4AF0-89BB-24376A01088A}" dt="2019-04-24T00:18:34.346" v="61" actId="478"/>
          <ac:picMkLst>
            <pc:docMk/>
            <pc:sldMk cId="1019335925" sldId="949"/>
            <ac:picMk id="5" creationId="{5FF6CD3A-07FB-44C7-B9B4-0588D67F47AF}"/>
          </ac:picMkLst>
        </pc:picChg>
        <pc:picChg chg="add del mod">
          <ac:chgData name="Hiram Fleitas" userId="461d7124ec7a38ad" providerId="LiveId" clId="{3663DC05-B761-4AF0-89BB-24376A01088A}" dt="2019-04-24T00:19:08.994" v="64" actId="478"/>
          <ac:picMkLst>
            <pc:docMk/>
            <pc:sldMk cId="1019335925" sldId="949"/>
            <ac:picMk id="6" creationId="{EE4EE62B-2360-4C3B-B4D3-4A21B91A1E24}"/>
          </ac:picMkLst>
        </pc:picChg>
        <pc:picChg chg="add mod">
          <ac:chgData name="Hiram Fleitas" userId="461d7124ec7a38ad" providerId="LiveId" clId="{3663DC05-B761-4AF0-89BB-24376A01088A}" dt="2019-04-24T00:21:59.572" v="95" actId="164"/>
          <ac:picMkLst>
            <pc:docMk/>
            <pc:sldMk cId="1019335925" sldId="949"/>
            <ac:picMk id="7" creationId="{76A7A87C-9D72-446E-9067-95426B43FD76}"/>
          </ac:picMkLst>
        </pc:picChg>
        <pc:picChg chg="add mod">
          <ac:chgData name="Hiram Fleitas" userId="461d7124ec7a38ad" providerId="LiveId" clId="{3663DC05-B761-4AF0-89BB-24376A01088A}" dt="2019-04-24T00:21:59.572" v="95" actId="164"/>
          <ac:picMkLst>
            <pc:docMk/>
            <pc:sldMk cId="1019335925" sldId="949"/>
            <ac:picMk id="8" creationId="{E4BFFA9A-9C01-4897-8423-C5E91E3F85F3}"/>
          </ac:picMkLst>
        </pc:picChg>
        <pc:picChg chg="del">
          <ac:chgData name="Hiram Fleitas" userId="461d7124ec7a38ad" providerId="LiveId" clId="{3663DC05-B761-4AF0-89BB-24376A01088A}" dt="2019-04-24T00:17:41.155" v="54" actId="478"/>
          <ac:picMkLst>
            <pc:docMk/>
            <pc:sldMk cId="1019335925" sldId="949"/>
            <ac:picMk id="9" creationId="{EA1FF085-681C-4632-BB65-34DF10E0E3E5}"/>
          </ac:picMkLst>
        </pc:picChg>
        <pc:picChg chg="del">
          <ac:chgData name="Hiram Fleitas" userId="461d7124ec7a38ad" providerId="LiveId" clId="{3663DC05-B761-4AF0-89BB-24376A01088A}" dt="2019-04-24T00:22:49.446" v="104" actId="478"/>
          <ac:picMkLst>
            <pc:docMk/>
            <pc:sldMk cId="1019335925" sldId="949"/>
            <ac:picMk id="10" creationId="{31EB8DEF-485B-46B9-980B-4C5EE6E7B7AD}"/>
          </ac:picMkLst>
        </pc:picChg>
        <pc:picChg chg="add del mod">
          <ac:chgData name="Hiram Fleitas" userId="461d7124ec7a38ad" providerId="LiveId" clId="{3663DC05-B761-4AF0-89BB-24376A01088A}" dt="2019-04-24T00:22:57.709" v="106" actId="478"/>
          <ac:picMkLst>
            <pc:docMk/>
            <pc:sldMk cId="1019335925" sldId="949"/>
            <ac:picMk id="12" creationId="{E8E42971-575D-4BA0-AC66-F1533A8545EE}"/>
          </ac:picMkLst>
        </pc:picChg>
      </pc:sldChg>
      <pc:sldChg chg="addSp delSp modSp add">
        <pc:chgData name="Hiram Fleitas" userId="461d7124ec7a38ad" providerId="LiveId" clId="{3663DC05-B761-4AF0-89BB-24376A01088A}" dt="2019-04-24T01:40:02.094" v="446" actId="14100"/>
        <pc:sldMkLst>
          <pc:docMk/>
          <pc:sldMk cId="3544022447" sldId="949"/>
        </pc:sldMkLst>
        <pc:spChg chg="add mod">
          <ac:chgData name="Hiram Fleitas" userId="461d7124ec7a38ad" providerId="LiveId" clId="{3663DC05-B761-4AF0-89BB-24376A01088A}" dt="2019-04-24T01:40:02.094" v="446" actId="14100"/>
          <ac:spMkLst>
            <pc:docMk/>
            <pc:sldMk cId="3544022447" sldId="949"/>
            <ac:spMk id="12" creationId="{CA57F97D-8800-4E01-9577-AE9BFEC6DC28}"/>
          </ac:spMkLst>
        </pc:spChg>
        <pc:picChg chg="add ord">
          <ac:chgData name="Hiram Fleitas" userId="461d7124ec7a38ad" providerId="LiveId" clId="{3663DC05-B761-4AF0-89BB-24376A01088A}" dt="2019-04-24T01:28:14.738" v="426" actId="167"/>
          <ac:picMkLst>
            <pc:docMk/>
            <pc:sldMk cId="3544022447" sldId="949"/>
            <ac:picMk id="2" creationId="{50FCF46B-C2C5-438D-8171-12209A696D52}"/>
          </ac:picMkLst>
        </pc:picChg>
        <pc:picChg chg="del">
          <ac:chgData name="Hiram Fleitas" userId="461d7124ec7a38ad" providerId="LiveId" clId="{3663DC05-B761-4AF0-89BB-24376A01088A}" dt="2019-04-24T01:28:03.173" v="420" actId="478"/>
          <ac:picMkLst>
            <pc:docMk/>
            <pc:sldMk cId="3544022447" sldId="949"/>
            <ac:picMk id="7" creationId="{1E961DD3-B39C-4095-AD0C-F87E26200388}"/>
          </ac:picMkLst>
        </pc:picChg>
      </pc:sldChg>
      <pc:sldChg chg="addSp add">
        <pc:chgData name="Hiram Fleitas" userId="461d7124ec7a38ad" providerId="LiveId" clId="{3663DC05-B761-4AF0-89BB-24376A01088A}" dt="2019-04-24T01:29:12.033" v="427"/>
        <pc:sldMkLst>
          <pc:docMk/>
          <pc:sldMk cId="993844266" sldId="950"/>
        </pc:sldMkLst>
        <pc:picChg chg="add">
          <ac:chgData name="Hiram Fleitas" userId="461d7124ec7a38ad" providerId="LiveId" clId="{3663DC05-B761-4AF0-89BB-24376A01088A}" dt="2019-04-24T01:29:12.033" v="427"/>
          <ac:picMkLst>
            <pc:docMk/>
            <pc:sldMk cId="993844266" sldId="950"/>
            <ac:picMk id="2" creationId="{54991F45-4AF3-4F33-A2A5-CA022153ABB4}"/>
          </ac:picMkLst>
        </pc:picChg>
      </pc:sldChg>
      <pc:sldChg chg="addSp delSp modSp add">
        <pc:chgData name="Hiram Fleitas" userId="461d7124ec7a38ad" providerId="LiveId" clId="{3663DC05-B761-4AF0-89BB-24376A01088A}" dt="2019-04-24T01:34:14.379" v="433"/>
        <pc:sldMkLst>
          <pc:docMk/>
          <pc:sldMk cId="1593572098" sldId="951"/>
        </pc:sldMkLst>
        <pc:spChg chg="add del">
          <ac:chgData name="Hiram Fleitas" userId="461d7124ec7a38ad" providerId="LiveId" clId="{3663DC05-B761-4AF0-89BB-24376A01088A}" dt="2019-04-24T01:34:14.379" v="433"/>
          <ac:spMkLst>
            <pc:docMk/>
            <pc:sldMk cId="1593572098" sldId="951"/>
            <ac:spMk id="3" creationId="{EBFFBE24-3177-40E9-BD1F-55AD18C92004}"/>
          </ac:spMkLst>
        </pc:spChg>
        <pc:picChg chg="add del ord">
          <ac:chgData name="Hiram Fleitas" userId="461d7124ec7a38ad" providerId="LiveId" clId="{3663DC05-B761-4AF0-89BB-24376A01088A}" dt="2019-04-24T01:30:11.766" v="431" actId="478"/>
          <ac:picMkLst>
            <pc:docMk/>
            <pc:sldMk cId="1593572098" sldId="951"/>
            <ac:picMk id="2" creationId="{BC7DE681-C46B-4487-8AC4-0036314F8525}"/>
          </ac:picMkLst>
        </pc:picChg>
      </pc:sldChg>
      <pc:sldChg chg="addSp delSp modSp add">
        <pc:chgData name="Hiram Fleitas" userId="461d7124ec7a38ad" providerId="LiveId" clId="{3663DC05-B761-4AF0-89BB-24376A01088A}" dt="2019-04-24T01:41:58.571" v="465" actId="14100"/>
        <pc:sldMkLst>
          <pc:docMk/>
          <pc:sldMk cId="685037595" sldId="952"/>
        </pc:sldMkLst>
        <pc:spChg chg="add del">
          <ac:chgData name="Hiram Fleitas" userId="461d7124ec7a38ad" providerId="LiveId" clId="{3663DC05-B761-4AF0-89BB-24376A01088A}" dt="2019-04-24T01:38:05.103" v="435"/>
          <ac:spMkLst>
            <pc:docMk/>
            <pc:sldMk cId="685037595" sldId="952"/>
            <ac:spMk id="2" creationId="{BE63456A-219C-4733-9AAF-D2961924216B}"/>
          </ac:spMkLst>
        </pc:spChg>
        <pc:spChg chg="add mod">
          <ac:chgData name="Hiram Fleitas" userId="461d7124ec7a38ad" providerId="LiveId" clId="{3663DC05-B761-4AF0-89BB-24376A01088A}" dt="2019-04-24T01:40:59.149" v="452" actId="14100"/>
          <ac:spMkLst>
            <pc:docMk/>
            <pc:sldMk cId="685037595" sldId="952"/>
            <ac:spMk id="12" creationId="{66EE3088-7FBF-4D48-9254-1B69A8879516}"/>
          </ac:spMkLst>
        </pc:spChg>
        <pc:spChg chg="add mod">
          <ac:chgData name="Hiram Fleitas" userId="461d7124ec7a38ad" providerId="LiveId" clId="{3663DC05-B761-4AF0-89BB-24376A01088A}" dt="2019-04-24T01:41:27.408" v="457" actId="14100"/>
          <ac:spMkLst>
            <pc:docMk/>
            <pc:sldMk cId="685037595" sldId="952"/>
            <ac:spMk id="13" creationId="{7602CD05-5301-4F36-B96C-310E380A907E}"/>
          </ac:spMkLst>
        </pc:spChg>
        <pc:spChg chg="add mod">
          <ac:chgData name="Hiram Fleitas" userId="461d7124ec7a38ad" providerId="LiveId" clId="{3663DC05-B761-4AF0-89BB-24376A01088A}" dt="2019-04-24T01:41:48.386" v="462" actId="14100"/>
          <ac:spMkLst>
            <pc:docMk/>
            <pc:sldMk cId="685037595" sldId="952"/>
            <ac:spMk id="14" creationId="{ACFE8D20-3956-41C1-B36C-4BA8BE3C83F3}"/>
          </ac:spMkLst>
        </pc:spChg>
        <pc:spChg chg="add mod">
          <ac:chgData name="Hiram Fleitas" userId="461d7124ec7a38ad" providerId="LiveId" clId="{3663DC05-B761-4AF0-89BB-24376A01088A}" dt="2019-04-24T01:41:58.571" v="465" actId="14100"/>
          <ac:spMkLst>
            <pc:docMk/>
            <pc:sldMk cId="685037595" sldId="952"/>
            <ac:spMk id="15" creationId="{0AAA23DC-718E-4F4F-9C7F-C5D5554B3CE2}"/>
          </ac:spMkLst>
        </pc:spChg>
        <pc:picChg chg="add mod ord">
          <ac:chgData name="Hiram Fleitas" userId="461d7124ec7a38ad" providerId="LiveId" clId="{3663DC05-B761-4AF0-89BB-24376A01088A}" dt="2019-04-24T01:41:33.804" v="460" actId="1076"/>
          <ac:picMkLst>
            <pc:docMk/>
            <pc:sldMk cId="685037595" sldId="952"/>
            <ac:picMk id="3" creationId="{95C1BC7E-1AB6-4061-92A8-C8380E7AAE13}"/>
          </ac:picMkLst>
        </pc:picChg>
      </pc:sldChg>
      <pc:sldChg chg="add">
        <pc:chgData name="Hiram Fleitas" userId="461d7124ec7a38ad" providerId="LiveId" clId="{3663DC05-B761-4AF0-89BB-24376A01088A}" dt="2019-04-24T01:28:07.556" v="424"/>
        <pc:sldMkLst>
          <pc:docMk/>
          <pc:sldMk cId="4232662503" sldId="953"/>
        </pc:sldMkLst>
      </pc:sldChg>
      <pc:sldChg chg="addSp delSp modSp add">
        <pc:chgData name="Hiram Fleitas" userId="461d7124ec7a38ad" providerId="LiveId" clId="{3663DC05-B761-4AF0-89BB-24376A01088A}" dt="2019-04-24T01:44:34.500" v="473" actId="478"/>
        <pc:sldMkLst>
          <pc:docMk/>
          <pc:sldMk cId="324951635" sldId="954"/>
        </pc:sldMkLst>
        <pc:picChg chg="add del">
          <ac:chgData name="Hiram Fleitas" userId="461d7124ec7a38ad" providerId="LiveId" clId="{3663DC05-B761-4AF0-89BB-24376A01088A}" dt="2019-04-24T01:38:31.349" v="438"/>
          <ac:picMkLst>
            <pc:docMk/>
            <pc:sldMk cId="324951635" sldId="954"/>
            <ac:picMk id="2" creationId="{1E7EA01B-2FFE-4530-B827-ED701989267B}"/>
          </ac:picMkLst>
        </pc:picChg>
        <pc:picChg chg="add del ord">
          <ac:chgData name="Hiram Fleitas" userId="461d7124ec7a38ad" providerId="LiveId" clId="{3663DC05-B761-4AF0-89BB-24376A01088A}" dt="2019-04-24T01:44:34.500" v="473" actId="478"/>
          <ac:picMkLst>
            <pc:docMk/>
            <pc:sldMk cId="324951635" sldId="954"/>
            <ac:picMk id="3" creationId="{756EC9A3-876A-48FF-B3BA-C389C1AC7F15}"/>
          </ac:picMkLst>
        </pc:picChg>
      </pc:sldChg>
      <pc:sldChg chg="addSp delSp modSp add modNotesTx">
        <pc:chgData name="Hiram Fleitas" userId="461d7124ec7a38ad" providerId="LiveId" clId="{3663DC05-B761-4AF0-89BB-24376A01088A}" dt="2019-04-24T01:44:30.336" v="472" actId="167"/>
        <pc:sldMkLst>
          <pc:docMk/>
          <pc:sldMk cId="1132149318" sldId="955"/>
        </pc:sldMkLst>
        <pc:picChg chg="del">
          <ac:chgData name="Hiram Fleitas" userId="461d7124ec7a38ad" providerId="LiveId" clId="{3663DC05-B761-4AF0-89BB-24376A01088A}" dt="2019-04-24T01:42:14.045" v="467" actId="478"/>
          <ac:picMkLst>
            <pc:docMk/>
            <pc:sldMk cId="1132149318" sldId="955"/>
            <ac:picMk id="3" creationId="{95C1BC7E-1AB6-4061-92A8-C8380E7AAE13}"/>
          </ac:picMkLst>
        </pc:picChg>
        <pc:picChg chg="add ord">
          <ac:chgData name="Hiram Fleitas" userId="461d7124ec7a38ad" providerId="LiveId" clId="{3663DC05-B761-4AF0-89BB-24376A01088A}" dt="2019-04-24T01:44:30.336" v="472" actId="167"/>
          <ac:picMkLst>
            <pc:docMk/>
            <pc:sldMk cId="1132149318" sldId="955"/>
            <ac:picMk id="16" creationId="{A503DB03-D72C-4394-BBF8-206A2123A65E}"/>
          </ac:picMkLst>
        </pc:picChg>
      </pc:sldChg>
      <pc:sldMasterChg chg="delSldLayout">
        <pc:chgData name="Hiram Fleitas" userId="461d7124ec7a38ad" providerId="LiveId" clId="{3663DC05-B761-4AF0-89BB-24376A01088A}" dt="2019-04-24T01:48:56.397" v="506" actId="2696"/>
        <pc:sldMasterMkLst>
          <pc:docMk/>
          <pc:sldMasterMk cId="3908582467" sldId="2147483648"/>
        </pc:sldMasterMkLst>
        <pc:sldLayoutChg chg="del">
          <pc:chgData name="Hiram Fleitas" userId="461d7124ec7a38ad" providerId="LiveId" clId="{3663DC05-B761-4AF0-89BB-24376A01088A}" dt="2019-04-24T01:48:56.397" v="506" actId="2696"/>
          <pc:sldLayoutMkLst>
            <pc:docMk/>
            <pc:sldMasterMk cId="3908582467" sldId="2147483648"/>
            <pc:sldLayoutMk cId="3428794252" sldId="2147483663"/>
          </pc:sldLayoutMkLst>
        </pc:sldLayoutChg>
      </pc:sldMasterChg>
    </pc:docChg>
  </pc:docChgLst>
  <pc:docChgLst>
    <pc:chgData name="Hiram Fleitas" userId="461d7124ec7a38ad" providerId="LiveId" clId="{C1076C30-4514-4B21-BA69-B62721A62E4C}"/>
    <pc:docChg chg="undo redo custSel addSld delSld modSld sldOrd modMainMaster delSection modSection">
      <pc:chgData name="Hiram Fleitas" userId="461d7124ec7a38ad" providerId="LiveId" clId="{C1076C30-4514-4B21-BA69-B62721A62E4C}" dt="2019-03-26T18:32:33.856" v="378" actId="20577"/>
      <pc:docMkLst>
        <pc:docMk/>
      </pc:docMkLst>
      <pc:sldChg chg="ord">
        <pc:chgData name="Hiram Fleitas" userId="461d7124ec7a38ad" providerId="LiveId" clId="{C1076C30-4514-4B21-BA69-B62721A62E4C}" dt="2019-03-26T18:09:42.593" v="296"/>
        <pc:sldMkLst>
          <pc:docMk/>
          <pc:sldMk cId="1969843946" sldId="324"/>
        </pc:sldMkLst>
      </pc:sldChg>
      <pc:sldChg chg="ord">
        <pc:chgData name="Hiram Fleitas" userId="461d7124ec7a38ad" providerId="LiveId" clId="{C1076C30-4514-4B21-BA69-B62721A62E4C}" dt="2019-03-26T18:09:14.184" v="295"/>
        <pc:sldMkLst>
          <pc:docMk/>
          <pc:sldMk cId="1761106601" sldId="327"/>
        </pc:sldMkLst>
      </pc:sldChg>
      <pc:sldChg chg="ord">
        <pc:chgData name="Hiram Fleitas" userId="461d7124ec7a38ad" providerId="LiveId" clId="{C1076C30-4514-4B21-BA69-B62721A62E4C}" dt="2019-03-26T18:09:49.019" v="297"/>
        <pc:sldMkLst>
          <pc:docMk/>
          <pc:sldMk cId="3755768089" sldId="332"/>
        </pc:sldMkLst>
      </pc:sldChg>
      <pc:sldChg chg="modSp">
        <pc:chgData name="Hiram Fleitas" userId="461d7124ec7a38ad" providerId="LiveId" clId="{C1076C30-4514-4B21-BA69-B62721A62E4C}" dt="2019-03-26T18:32:33.856" v="378" actId="20577"/>
        <pc:sldMkLst>
          <pc:docMk/>
          <pc:sldMk cId="4091502606" sldId="529"/>
        </pc:sldMkLst>
        <pc:spChg chg="mod">
          <ac:chgData name="Hiram Fleitas" userId="461d7124ec7a38ad" providerId="LiveId" clId="{C1076C30-4514-4B21-BA69-B62721A62E4C}" dt="2019-03-26T18:32:33.856" v="378" actId="20577"/>
          <ac:spMkLst>
            <pc:docMk/>
            <pc:sldMk cId="4091502606" sldId="529"/>
            <ac:spMk id="4" creationId="{5861C861-75F5-49F2-9567-B1AB524CCD4A}"/>
          </ac:spMkLst>
        </pc:spChg>
      </pc:sldChg>
      <pc:sldChg chg="modSp">
        <pc:chgData name="Hiram Fleitas" userId="461d7124ec7a38ad" providerId="LiveId" clId="{C1076C30-4514-4B21-BA69-B62721A62E4C}" dt="2019-03-26T17:46:18.304" v="57" actId="20577"/>
        <pc:sldMkLst>
          <pc:docMk/>
          <pc:sldMk cId="2390529645" sldId="592"/>
        </pc:sldMkLst>
        <pc:spChg chg="mod">
          <ac:chgData name="Hiram Fleitas" userId="461d7124ec7a38ad" providerId="LiveId" clId="{C1076C30-4514-4B21-BA69-B62721A62E4C}" dt="2019-03-26T17:46:18.304" v="57" actId="20577"/>
          <ac:spMkLst>
            <pc:docMk/>
            <pc:sldMk cId="2390529645" sldId="592"/>
            <ac:spMk id="3" creationId="{7FF0C641-4EAE-4696-A384-96F0A0D630ED}"/>
          </ac:spMkLst>
        </pc:spChg>
      </pc:sldChg>
      <pc:sldChg chg="ord modNotesTx">
        <pc:chgData name="Hiram Fleitas" userId="461d7124ec7a38ad" providerId="LiveId" clId="{C1076C30-4514-4B21-BA69-B62721A62E4C}" dt="2019-03-26T18:10:04.963" v="305" actId="20577"/>
        <pc:sldMkLst>
          <pc:docMk/>
          <pc:sldMk cId="4172075436" sldId="594"/>
        </pc:sldMkLst>
      </pc:sldChg>
      <pc:sldChg chg="modSp">
        <pc:chgData name="Hiram Fleitas" userId="461d7124ec7a38ad" providerId="LiveId" clId="{C1076C30-4514-4B21-BA69-B62721A62E4C}" dt="2019-03-26T17:46:46.917" v="59" actId="1076"/>
        <pc:sldMkLst>
          <pc:docMk/>
          <pc:sldMk cId="3030542895" sldId="602"/>
        </pc:sldMkLst>
        <pc:picChg chg="mod">
          <ac:chgData name="Hiram Fleitas" userId="461d7124ec7a38ad" providerId="LiveId" clId="{C1076C30-4514-4B21-BA69-B62721A62E4C}" dt="2019-03-26T17:46:46.917" v="59" actId="1076"/>
          <ac:picMkLst>
            <pc:docMk/>
            <pc:sldMk cId="3030542895" sldId="602"/>
            <ac:picMk id="8196" creationId="{007A2180-1119-46F3-980B-ABDEEEDE272C}"/>
          </ac:picMkLst>
        </pc:picChg>
      </pc:sldChg>
      <pc:sldChg chg="modSp">
        <pc:chgData name="Hiram Fleitas" userId="461d7124ec7a38ad" providerId="LiveId" clId="{C1076C30-4514-4B21-BA69-B62721A62E4C}" dt="2019-03-26T18:04:40.481" v="219" actId="113"/>
        <pc:sldMkLst>
          <pc:docMk/>
          <pc:sldMk cId="3157100967" sldId="938"/>
        </pc:sldMkLst>
        <pc:spChg chg="mod">
          <ac:chgData name="Hiram Fleitas" userId="461d7124ec7a38ad" providerId="LiveId" clId="{C1076C30-4514-4B21-BA69-B62721A62E4C}" dt="2019-03-26T18:04:40.481" v="219" actId="113"/>
          <ac:spMkLst>
            <pc:docMk/>
            <pc:sldMk cId="3157100967" sldId="938"/>
            <ac:spMk id="2" creationId="{755FCDBF-8F98-4817-B6AC-B57EB97960D0}"/>
          </ac:spMkLst>
        </pc:spChg>
        <pc:spChg chg="mod">
          <ac:chgData name="Hiram Fleitas" userId="461d7124ec7a38ad" providerId="LiveId" clId="{C1076C30-4514-4B21-BA69-B62721A62E4C}" dt="2019-03-26T15:49:22.351" v="4" actId="1076"/>
          <ac:spMkLst>
            <pc:docMk/>
            <pc:sldMk cId="3157100967" sldId="938"/>
            <ac:spMk id="16" creationId="{6C9ACC70-D9B3-42A5-A9A0-5673558E6C71}"/>
          </ac:spMkLst>
        </pc:spChg>
      </pc:sldChg>
      <pc:sldChg chg="setBg">
        <pc:chgData name="Hiram Fleitas" userId="461d7124ec7a38ad" providerId="LiveId" clId="{C1076C30-4514-4B21-BA69-B62721A62E4C}" dt="2019-03-26T17:18:45.741" v="5"/>
        <pc:sldMkLst>
          <pc:docMk/>
          <pc:sldMk cId="2132952452" sldId="941"/>
        </pc:sldMkLst>
      </pc:sldChg>
      <pc:sldChg chg="setBg">
        <pc:chgData name="Hiram Fleitas" userId="461d7124ec7a38ad" providerId="LiveId" clId="{C1076C30-4514-4B21-BA69-B62721A62E4C}" dt="2019-03-26T17:18:51.654" v="6"/>
        <pc:sldMkLst>
          <pc:docMk/>
          <pc:sldMk cId="422149466" sldId="942"/>
        </pc:sldMkLst>
      </pc:sldChg>
      <pc:sldChg chg="setBg modNotesTx">
        <pc:chgData name="Hiram Fleitas" userId="461d7124ec7a38ad" providerId="LiveId" clId="{C1076C30-4514-4B21-BA69-B62721A62E4C}" dt="2019-03-26T17:36:24.037" v="21" actId="6549"/>
        <pc:sldMkLst>
          <pc:docMk/>
          <pc:sldMk cId="3660474804" sldId="943"/>
        </pc:sldMkLst>
      </pc:sldChg>
      <pc:sldChg chg="setBg modNotesTx">
        <pc:chgData name="Hiram Fleitas" userId="461d7124ec7a38ad" providerId="LiveId" clId="{C1076C30-4514-4B21-BA69-B62721A62E4C}" dt="2019-03-26T17:36:21.053" v="20" actId="6549"/>
        <pc:sldMkLst>
          <pc:docMk/>
          <pc:sldMk cId="2855375308" sldId="944"/>
        </pc:sldMkLst>
      </pc:sldChg>
      <pc:sldChg chg="addSp delSp setBg modNotesTx">
        <pc:chgData name="Hiram Fleitas" userId="461d7124ec7a38ad" providerId="LiveId" clId="{C1076C30-4514-4B21-BA69-B62721A62E4C}" dt="2019-03-26T17:36:17.733" v="19" actId="6549"/>
        <pc:sldMkLst>
          <pc:docMk/>
          <pc:sldMk cId="1628316798" sldId="945"/>
        </pc:sldMkLst>
        <pc:picChg chg="del">
          <ac:chgData name="Hiram Fleitas" userId="461d7124ec7a38ad" providerId="LiveId" clId="{C1076C30-4514-4B21-BA69-B62721A62E4C}" dt="2019-03-26T17:35:33.821" v="13"/>
          <ac:picMkLst>
            <pc:docMk/>
            <pc:sldMk cId="1628316798" sldId="945"/>
            <ac:picMk id="13" creationId="{14DDDE4B-1515-469D-AF38-F4AEA3374CB1}"/>
          </ac:picMkLst>
        </pc:picChg>
        <pc:picChg chg="add">
          <ac:chgData name="Hiram Fleitas" userId="461d7124ec7a38ad" providerId="LiveId" clId="{C1076C30-4514-4B21-BA69-B62721A62E4C}" dt="2019-03-26T17:35:36.587" v="15"/>
          <ac:picMkLst>
            <pc:docMk/>
            <pc:sldMk cId="1628316798" sldId="945"/>
            <ac:picMk id="14" creationId="{CD3504FD-7535-46AE-9F13-3C146DAA1CBE}"/>
          </ac:picMkLst>
        </pc:picChg>
        <pc:picChg chg="del">
          <ac:chgData name="Hiram Fleitas" userId="461d7124ec7a38ad" providerId="LiveId" clId="{C1076C30-4514-4B21-BA69-B62721A62E4C}" dt="2019-03-26T17:35:35.441" v="14" actId="478"/>
          <ac:picMkLst>
            <pc:docMk/>
            <pc:sldMk cId="1628316798" sldId="945"/>
            <ac:picMk id="16386" creationId="{21D9FBBB-8AE8-41EA-A80D-B74B4D0D75FB}"/>
          </ac:picMkLst>
        </pc:picChg>
      </pc:sldChg>
      <pc:sldChg chg="addSp delSp modSp add modNotesTx">
        <pc:chgData name="Hiram Fleitas" userId="461d7124ec7a38ad" providerId="LiveId" clId="{C1076C30-4514-4B21-BA69-B62721A62E4C}" dt="2019-03-26T17:40:46.545" v="41" actId="20577"/>
        <pc:sldMkLst>
          <pc:docMk/>
          <pc:sldMk cId="2213798299" sldId="946"/>
        </pc:sldMkLst>
        <pc:picChg chg="del">
          <ac:chgData name="Hiram Fleitas" userId="461d7124ec7a38ad" providerId="LiveId" clId="{C1076C30-4514-4B21-BA69-B62721A62E4C}" dt="2019-03-26T17:35:27.585" v="11" actId="478"/>
          <ac:picMkLst>
            <pc:docMk/>
            <pc:sldMk cId="2213798299" sldId="946"/>
            <ac:picMk id="13" creationId="{14DDDE4B-1515-469D-AF38-F4AEA3374CB1}"/>
          </ac:picMkLst>
        </pc:picChg>
        <pc:picChg chg="add del">
          <ac:chgData name="Hiram Fleitas" userId="461d7124ec7a38ad" providerId="LiveId" clId="{C1076C30-4514-4B21-BA69-B62721A62E4C}" dt="2019-03-26T17:36:01.325" v="17"/>
          <ac:picMkLst>
            <pc:docMk/>
            <pc:sldMk cId="2213798299" sldId="946"/>
            <ac:picMk id="6146" creationId="{BB78D9CA-4C65-49C2-B0AE-DF13C2B2B948}"/>
          </ac:picMkLst>
        </pc:picChg>
        <pc:picChg chg="add mod ord">
          <ac:chgData name="Hiram Fleitas" userId="461d7124ec7a38ad" providerId="LiveId" clId="{C1076C30-4514-4B21-BA69-B62721A62E4C}" dt="2019-03-26T17:38:05.754" v="25" actId="167"/>
          <ac:picMkLst>
            <pc:docMk/>
            <pc:sldMk cId="2213798299" sldId="946"/>
            <ac:picMk id="6148" creationId="{C2F6D42F-9391-4660-A3A1-A838CB585F15}"/>
          </ac:picMkLst>
        </pc:picChg>
        <pc:picChg chg="del">
          <ac:chgData name="Hiram Fleitas" userId="461d7124ec7a38ad" providerId="LiveId" clId="{C1076C30-4514-4B21-BA69-B62721A62E4C}" dt="2019-03-26T17:35:29.776" v="12" actId="478"/>
          <ac:picMkLst>
            <pc:docMk/>
            <pc:sldMk cId="2213798299" sldId="946"/>
            <ac:picMk id="16386" creationId="{21D9FBBB-8AE8-41EA-A80D-B74B4D0D75FB}"/>
          </ac:picMkLst>
        </pc:picChg>
      </pc:sldChg>
      <pc:sldChg chg="addSp delSp modSp add delAnim modAnim modNotesTx">
        <pc:chgData name="Hiram Fleitas" userId="461d7124ec7a38ad" providerId="LiveId" clId="{C1076C30-4514-4B21-BA69-B62721A62E4C}" dt="2019-03-26T18:29:23.272" v="355" actId="1076"/>
        <pc:sldMkLst>
          <pc:docMk/>
          <pc:sldMk cId="2489766288" sldId="947"/>
        </pc:sldMkLst>
        <pc:spChg chg="del mod">
          <ac:chgData name="Hiram Fleitas" userId="461d7124ec7a38ad" providerId="LiveId" clId="{C1076C30-4514-4B21-BA69-B62721A62E4C}" dt="2019-03-26T18:17:55.065" v="324" actId="478"/>
          <ac:spMkLst>
            <pc:docMk/>
            <pc:sldMk cId="2489766288" sldId="947"/>
            <ac:spMk id="2" creationId="{755FCDBF-8F98-4817-B6AC-B57EB97960D0}"/>
          </ac:spMkLst>
        </pc:spChg>
        <pc:spChg chg="mod">
          <ac:chgData name="Hiram Fleitas" userId="461d7124ec7a38ad" providerId="LiveId" clId="{C1076C30-4514-4B21-BA69-B62721A62E4C}" dt="2019-03-26T18:29:23.272" v="355" actId="1076"/>
          <ac:spMkLst>
            <pc:docMk/>
            <pc:sldMk cId="2489766288" sldId="947"/>
            <ac:spMk id="3" creationId="{51DDC27F-7C12-4143-855F-186E4AC2EC9E}"/>
          </ac:spMkLst>
        </pc:spChg>
        <pc:spChg chg="mod">
          <ac:chgData name="Hiram Fleitas" userId="461d7124ec7a38ad" providerId="LiveId" clId="{C1076C30-4514-4B21-BA69-B62721A62E4C}" dt="2019-03-26T17:50:00.110" v="61"/>
          <ac:spMkLst>
            <pc:docMk/>
            <pc:sldMk cId="2489766288" sldId="947"/>
            <ac:spMk id="7" creationId="{75EDDC2C-64B1-4AAA-9460-C016ABB55FD0}"/>
          </ac:spMkLst>
        </pc:spChg>
        <pc:spChg chg="add mod">
          <ac:chgData name="Hiram Fleitas" userId="461d7124ec7a38ad" providerId="LiveId" clId="{C1076C30-4514-4B21-BA69-B62721A62E4C}" dt="2019-03-26T18:27:41.011" v="350" actId="1076"/>
          <ac:spMkLst>
            <pc:docMk/>
            <pc:sldMk cId="2489766288" sldId="947"/>
            <ac:spMk id="18" creationId="{707B10FE-A2D8-4E4D-AC25-776DE76003AE}"/>
          </ac:spMkLst>
        </pc:spChg>
        <pc:grpChg chg="mod">
          <ac:chgData name="Hiram Fleitas" userId="461d7124ec7a38ad" providerId="LiveId" clId="{C1076C30-4514-4B21-BA69-B62721A62E4C}" dt="2019-03-26T18:27:47.533" v="351" actId="1076"/>
          <ac:grpSpMkLst>
            <pc:docMk/>
            <pc:sldMk cId="2489766288" sldId="947"/>
            <ac:grpSpMk id="14" creationId="{E3473B26-1406-4215-B152-3867DCC2D81A}"/>
          </ac:grpSpMkLst>
        </pc:grpChg>
        <pc:picChg chg="add">
          <ac:chgData name="Hiram Fleitas" userId="461d7124ec7a38ad" providerId="LiveId" clId="{C1076C30-4514-4B21-BA69-B62721A62E4C}" dt="2019-03-26T17:52:05.542" v="82"/>
          <ac:picMkLst>
            <pc:docMk/>
            <pc:sldMk cId="2489766288" sldId="947"/>
            <ac:picMk id="17" creationId="{CB7E0BAB-C6A1-47D5-84AD-CED0ED88172B}"/>
          </ac:picMkLst>
        </pc:picChg>
        <pc:picChg chg="add del">
          <ac:chgData name="Hiram Fleitas" userId="461d7124ec7a38ad" providerId="LiveId" clId="{C1076C30-4514-4B21-BA69-B62721A62E4C}" dt="2019-03-26T18:10:32.575" v="307" actId="478"/>
          <ac:picMkLst>
            <pc:docMk/>
            <pc:sldMk cId="2489766288" sldId="947"/>
            <ac:picMk id="19" creationId="{0E63AD3C-78ED-476A-AD00-0743CD404ED8}"/>
          </ac:picMkLst>
        </pc:picChg>
        <pc:picChg chg="add mod">
          <ac:chgData name="Hiram Fleitas" userId="461d7124ec7a38ad" providerId="LiveId" clId="{C1076C30-4514-4B21-BA69-B62721A62E4C}" dt="2019-03-26T18:27:33.500" v="349" actId="1076"/>
          <ac:picMkLst>
            <pc:docMk/>
            <pc:sldMk cId="2489766288" sldId="947"/>
            <ac:picMk id="20" creationId="{6357A3A7-A413-4E86-8785-FF581A18F666}"/>
          </ac:picMkLst>
        </pc:picChg>
        <pc:picChg chg="add del mod">
          <ac:chgData name="Hiram Fleitas" userId="461d7124ec7a38ad" providerId="LiveId" clId="{C1076C30-4514-4B21-BA69-B62721A62E4C}" dt="2019-03-26T18:10:50.509" v="311" actId="478"/>
          <ac:picMkLst>
            <pc:docMk/>
            <pc:sldMk cId="2489766288" sldId="947"/>
            <ac:picMk id="7170" creationId="{F4AD2C54-EBEE-4A0B-A69E-8737BCAD3EFF}"/>
          </ac:picMkLst>
        </pc:picChg>
        <pc:picChg chg="add del mod">
          <ac:chgData name="Hiram Fleitas" userId="461d7124ec7a38ad" providerId="LiveId" clId="{C1076C30-4514-4B21-BA69-B62721A62E4C}" dt="2019-03-26T17:52:03.253" v="80"/>
          <ac:picMkLst>
            <pc:docMk/>
            <pc:sldMk cId="2489766288" sldId="947"/>
            <ac:picMk id="7172" creationId="{7ABC1CBE-C43C-4BBD-8EB4-CAA6F0F4234B}"/>
          </ac:picMkLst>
        </pc:picChg>
        <pc:picChg chg="del">
          <ac:chgData name="Hiram Fleitas" userId="461d7124ec7a38ad" providerId="LiveId" clId="{C1076C30-4514-4B21-BA69-B62721A62E4C}" dt="2019-03-26T17:52:04.963" v="81" actId="478"/>
          <ac:picMkLst>
            <pc:docMk/>
            <pc:sldMk cId="2489766288" sldId="947"/>
            <ac:picMk id="10242" creationId="{C593D503-E5DE-47CE-A460-46E6B004F771}"/>
          </ac:picMkLst>
        </pc:picChg>
        <pc:picChg chg="add del">
          <ac:chgData name="Hiram Fleitas" userId="461d7124ec7a38ad" providerId="LiveId" clId="{C1076C30-4514-4B21-BA69-B62721A62E4C}" dt="2019-03-26T17:51:37.215" v="76" actId="478"/>
          <ac:picMkLst>
            <pc:docMk/>
            <pc:sldMk cId="2489766288" sldId="947"/>
            <ac:picMk id="10248" creationId="{0165C2C1-434D-4A32-830F-63D7D0C2F612}"/>
          </ac:picMkLst>
        </pc:picChg>
      </pc:sldChg>
      <pc:sldMasterChg chg="delSldLayout modSldLayout">
        <pc:chgData name="Hiram Fleitas" userId="461d7124ec7a38ad" providerId="LiveId" clId="{C1076C30-4514-4B21-BA69-B62721A62E4C}" dt="2019-03-26T18:31:59.062" v="360" actId="2696"/>
        <pc:sldMasterMkLst>
          <pc:docMk/>
          <pc:sldMasterMk cId="3908582467" sldId="2147483648"/>
        </pc:sldMasterMkLst>
        <pc:sldLayoutChg chg="modSp">
          <pc:chgData name="Hiram Fleitas" userId="461d7124ec7a38ad" providerId="LiveId" clId="{C1076C30-4514-4B21-BA69-B62721A62E4C}" dt="2019-03-26T15:32:11.384" v="0" actId="6549"/>
          <pc:sldLayoutMkLst>
            <pc:docMk/>
            <pc:sldMasterMk cId="3908582467" sldId="2147483648"/>
            <pc:sldLayoutMk cId="543887899" sldId="2147483680"/>
          </pc:sldLayoutMkLst>
          <pc:spChg chg="mod">
            <ac:chgData name="Hiram Fleitas" userId="461d7124ec7a38ad" providerId="LiveId" clId="{C1076C30-4514-4B21-BA69-B62721A62E4C}" dt="2019-03-26T15:32:11.384" v="0" actId="6549"/>
            <ac:spMkLst>
              <pc:docMk/>
              <pc:sldMasterMk cId="3908582467" sldId="2147483648"/>
              <pc:sldLayoutMk cId="543887899" sldId="2147483680"/>
              <ac:spMk id="9" creationId="{D14CA51F-6CD7-424C-8776-5790D4B683EB}"/>
            </ac:spMkLst>
          </pc:spChg>
        </pc:sldLayoutChg>
      </pc:sldMasterChg>
    </pc:docChg>
  </pc:docChgLst>
  <pc:docChgLst>
    <pc:chgData name="Tamer Farag" userId="b89adaf9-1f5e-4fb5-b342-6ff9f0588865" providerId="ADAL" clId="{AE51D5C2-3089-4E40-838B-42AAE4831068}"/>
  </pc:docChgLst>
  <pc:docChgLst>
    <pc:chgData name="Tamer Farag" userId="b89adaf9-1f5e-4fb5-b342-6ff9f0588865" providerId="ADAL" clId="{9469A61A-7DF8-4967-86BB-2F54D00ABD1E}"/>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23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172.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88030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31. Apply conditional formatting on Revenue so that Revenue is formatted based on % Growth. Thus, highlighting capability to format based on another field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32531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down tick next to the Revenue value, select Conditional Formatting, Background colo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7741341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oose Based on % Growth </a:t>
            </a:r>
          </a:p>
          <a:p>
            <a:r>
              <a:rPr lang="en-US" sz="1200" b="0" i="0" u="none" strike="noStrike" kern="1200" baseline="0" dirty="0">
                <a:solidFill>
                  <a:schemeClr val="tx1"/>
                </a:solidFill>
                <a:latin typeface="+mn-lt"/>
                <a:ea typeface="+mn-ea"/>
                <a:cs typeface="+mn-cs"/>
              </a:rPr>
              <a:t>check Diverging to add a Mid value color. </a:t>
            </a:r>
          </a:p>
          <a:p>
            <a:r>
              <a:rPr lang="en-US" sz="1200" b="0" i="0" u="none" strike="noStrike" kern="1200" baseline="0" dirty="0">
                <a:solidFill>
                  <a:schemeClr val="tx1"/>
                </a:solidFill>
                <a:latin typeface="+mn-lt"/>
                <a:ea typeface="+mn-ea"/>
                <a:cs typeface="+mn-cs"/>
              </a:rPr>
              <a:t>And click OK.</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6523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ve increased this visual’s Font size format for Column headers, Row headers, and Values to make this legible.</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293100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Nigeria in the bar chart and 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growth in Urban and Youth Product categories. </a:t>
            </a:r>
          </a:p>
          <a:p>
            <a:r>
              <a:rPr lang="en-US" sz="1200" b="0" i="0" u="none" strike="noStrike" kern="1200" baseline="0" dirty="0">
                <a:solidFill>
                  <a:schemeClr val="tx1"/>
                </a:solidFill>
                <a:latin typeface="+mn-lt"/>
                <a:ea typeface="+mn-ea"/>
                <a:cs typeface="+mn-cs"/>
              </a:rPr>
              <a:t>You’d expect it to have been Rural, since it has a higher Revenue, but the contributors to the Growth were Urban and Youth.</a:t>
            </a:r>
          </a:p>
          <a:p>
            <a:r>
              <a:rPr lang="en-US" sz="1200" b="0" i="0" u="none" strike="noStrike" kern="1200" baseline="0" dirty="0">
                <a:solidFill>
                  <a:schemeClr val="tx1"/>
                </a:solidFill>
                <a:latin typeface="+mn-lt"/>
                <a:ea typeface="+mn-ea"/>
                <a:cs typeface="+mn-cs"/>
              </a:rPr>
              <a:t>133. investigate further by drilling down the Product hierarchy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9602871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Investigate further by drilling down the Product hierarch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We can see for the Urban category the contributors to the % Growth were Convenience and Extreme segment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830998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ve things around and resize them to give some room.</a:t>
            </a:r>
          </a:p>
          <a:p>
            <a:r>
              <a:rPr lang="en-US" sz="1200" b="0" i="0" u="none" strike="noStrike" kern="1200" baseline="0" dirty="0">
                <a:solidFill>
                  <a:schemeClr val="tx1"/>
                </a:solidFill>
                <a:latin typeface="+mn-lt"/>
                <a:ea typeface="+mn-ea"/>
                <a:cs typeface="+mn-cs"/>
              </a:rPr>
              <a:t>Then add a Scatter chart visual, and add Units to the X-Axis.</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103239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et the calculation to Average of Units </a:t>
            </a:r>
            <a:r>
              <a:rPr lang="en-US" sz="1200" b="0" i="0" u="none" strike="noStrike" kern="1200" baseline="0" dirty="0">
                <a:solidFill>
                  <a:schemeClr val="tx1"/>
                </a:solidFill>
                <a:latin typeface="+mn-lt"/>
                <a:ea typeface="+mn-ea"/>
                <a:cs typeface="+mn-cs"/>
              </a:rPr>
              <a:t>instead of the default Su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116149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Do the same for </a:t>
            </a:r>
            <a:r>
              <a:rPr lang="en-US" sz="1200" b="1" i="0" u="none" strike="noStrike" kern="1200" baseline="0" dirty="0">
                <a:solidFill>
                  <a:schemeClr val="tx1"/>
                </a:solidFill>
                <a:latin typeface="+mn-lt"/>
                <a:ea typeface="+mn-ea"/>
                <a:cs typeface="+mn-cs"/>
              </a:rPr>
              <a:t>Average Revenue to he Y-Ax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1357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9 9: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Fields section, add</a:t>
            </a:r>
            <a:r>
              <a:rPr lang="en-US" sz="1200" b="1" i="0" u="none" strike="noStrike" kern="1200" baseline="0" dirty="0">
                <a:solidFill>
                  <a:schemeClr val="tx1"/>
                </a:solidFill>
                <a:latin typeface="+mn-lt"/>
                <a:ea typeface="+mn-ea"/>
                <a:cs typeface="+mn-cs"/>
              </a:rPr>
              <a:t> Product </a:t>
            </a:r>
            <a:r>
              <a:rPr lang="en-US" sz="1200" b="0" i="0" u="none" strike="noStrike" kern="1200" baseline="0" dirty="0">
                <a:solidFill>
                  <a:schemeClr val="tx1"/>
                </a:solidFill>
                <a:latin typeface="+mn-lt"/>
                <a:ea typeface="+mn-ea"/>
                <a:cs typeface="+mn-cs"/>
              </a:rPr>
              <a:t>to</a:t>
            </a:r>
            <a:r>
              <a:rPr lang="en-US" sz="1200" b="1" i="0" u="none" strike="noStrike" kern="1200" baseline="0" dirty="0">
                <a:solidFill>
                  <a:schemeClr val="tx1"/>
                </a:solidFill>
                <a:latin typeface="+mn-lt"/>
                <a:ea typeface="+mn-ea"/>
                <a:cs typeface="+mn-cs"/>
              </a:rPr>
              <a:t> Detail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8313556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leverage the Power BI underlying clustering algorithm by telling the Scatter chart to Automatically find clusters.</a:t>
            </a:r>
          </a:p>
          <a:p>
            <a:r>
              <a:rPr lang="en-US" sz="1200" b="0" i="0" u="none" strike="noStrike" kern="1200" baseline="0" dirty="0">
                <a:solidFill>
                  <a:schemeClr val="tx1"/>
                </a:solidFill>
                <a:latin typeface="+mn-lt"/>
                <a:ea typeface="+mn-ea"/>
                <a:cs typeface="+mn-cs"/>
              </a:rPr>
              <a:t>Click the ellipses on the top right of the visual for More Options and choose Automatically find cluste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1153876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uster dialog opens. Change the number of clusters if you wish to, if not leave the default and click OK.</a:t>
            </a:r>
          </a:p>
          <a:p>
            <a:r>
              <a:rPr lang="en-US" sz="1200" b="0" i="0" u="none" strike="noStrike" kern="1200" baseline="0" dirty="0">
                <a:solidFill>
                  <a:schemeClr val="tx1"/>
                </a:solidFill>
                <a:latin typeface="+mn-lt"/>
                <a:ea typeface="+mn-ea"/>
                <a:cs typeface="+mn-cs"/>
              </a:rPr>
              <a:t>It’s going to say Working… for a momen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255984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the Scatter chart has updated to show clusters using the clustering algorithm.</a:t>
            </a:r>
          </a:p>
          <a:p>
            <a:r>
              <a:rPr lang="en-US" sz="1200" b="0" i="0" u="none" strike="noStrike" kern="1200" baseline="0" dirty="0">
                <a:solidFill>
                  <a:schemeClr val="tx1"/>
                </a:solidFill>
                <a:latin typeface="+mn-lt"/>
                <a:ea typeface="+mn-ea"/>
                <a:cs typeface="+mn-cs"/>
              </a:rPr>
              <a:t>You can use clusters to identify outliers and patter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009734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the outlier Cluster7 in the Scatter chart.</a:t>
            </a:r>
          </a:p>
          <a:p>
            <a:r>
              <a:rPr lang="en-US" sz="1200" b="0" i="0" u="none" strike="noStrike" kern="1200" baseline="0" dirty="0">
                <a:solidFill>
                  <a:schemeClr val="tx1"/>
                </a:solidFill>
                <a:latin typeface="+mn-lt"/>
                <a:ea typeface="+mn-ea"/>
                <a:cs typeface="+mn-cs"/>
              </a:rPr>
              <a:t>Notice they make a huge chunk of the revenue in Nigeria and Canada.</a:t>
            </a:r>
          </a:p>
          <a:p>
            <a:r>
              <a:rPr lang="en-US" sz="1200" b="0" i="0" u="none" strike="noStrike" kern="1200" baseline="0" dirty="0">
                <a:solidFill>
                  <a:schemeClr val="tx1"/>
                </a:solidFill>
                <a:latin typeface="+mn-lt"/>
                <a:ea typeface="+mn-ea"/>
                <a:cs typeface="+mn-cs"/>
              </a:rPr>
              <a:t>Something to look into…</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9083167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we sort by Revenue the product matrix we se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UC-26 is the outlier in Cluster7 with the highest Average of Units and Average of Revenue in Nigeria and Canada.</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399213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5385232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what’s going on and is there a correlation with social med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247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e: This demo is to show slicers is available on numeric and dimension fields </a:t>
            </a:r>
          </a:p>
          <a:p>
            <a:r>
              <a:rPr lang="en-US" sz="1200" b="0" i="0" u="none" strike="noStrike" kern="1200" baseline="0" dirty="0">
                <a:solidFill>
                  <a:schemeClr val="tx1"/>
                </a:solidFill>
                <a:latin typeface="+mn-lt"/>
                <a:ea typeface="+mn-ea"/>
                <a:cs typeface="+mn-cs"/>
              </a:rPr>
              <a:t>147. Add a Revenue slicer </a:t>
            </a:r>
          </a:p>
          <a:p>
            <a:r>
              <a:rPr lang="en-US" sz="1200" b="0" i="0" u="none" strike="noStrike" kern="1200" baseline="0" dirty="0">
                <a:solidFill>
                  <a:schemeClr val="tx1"/>
                </a:solidFill>
                <a:latin typeface="+mn-lt"/>
                <a:ea typeface="+mn-ea"/>
                <a:cs typeface="+mn-cs"/>
              </a:rPr>
              <a:t>148. Let’s use the slicer to take out the outliers </a:t>
            </a:r>
          </a:p>
          <a:p>
            <a:r>
              <a:rPr lang="en-US" sz="1200" b="0" i="0" u="none" strike="noStrike" kern="1200" baseline="0" dirty="0">
                <a:solidFill>
                  <a:schemeClr val="tx1"/>
                </a:solidFill>
                <a:latin typeface="+mn-lt"/>
                <a:ea typeface="+mn-ea"/>
                <a:cs typeface="+mn-cs"/>
              </a:rPr>
              <a:t>149. Use the slicer to keep Revenue between 1000 and 40000. </a:t>
            </a:r>
          </a:p>
          <a:p>
            <a:r>
              <a:rPr lang="en-US" sz="1200" b="0" i="0" u="none" strike="noStrike" kern="1200" baseline="0" dirty="0">
                <a:solidFill>
                  <a:schemeClr val="tx1"/>
                </a:solidFill>
                <a:latin typeface="+mn-lt"/>
                <a:ea typeface="+mn-ea"/>
                <a:cs typeface="+mn-cs"/>
              </a:rPr>
              <a:t>150. Notice with this selection, Germany, Japan and Mexico have negative growth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10653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010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9 9: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77912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540536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975283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8311905"/>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561170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1. Enable Bookmark pane. </a:t>
            </a:r>
          </a:p>
          <a:p>
            <a:r>
              <a:rPr lang="en-US" sz="1200" b="0" i="0" u="none" strike="noStrike" kern="1200" baseline="0" dirty="0">
                <a:solidFill>
                  <a:schemeClr val="tx1"/>
                </a:solidFill>
                <a:latin typeface="+mn-lt"/>
                <a:ea typeface="+mn-ea"/>
                <a:cs typeface="+mn-cs"/>
              </a:rPr>
              <a:t>152. Walk through the existing Bookmarks and the use case for bookmarks. </a:t>
            </a:r>
          </a:p>
          <a:p>
            <a:r>
              <a:rPr lang="en-US" sz="1200" b="0" i="0" u="none" strike="noStrike" kern="1200" baseline="0" dirty="0">
                <a:solidFill>
                  <a:schemeClr val="tx1"/>
                </a:solidFill>
                <a:latin typeface="+mn-lt"/>
                <a:ea typeface="+mn-ea"/>
                <a:cs typeface="+mn-cs"/>
              </a:rPr>
              <a:t>153. Feel free to add new bookmarks for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story that we started investigat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8949372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4. Navigate to By Manufacturer report page </a:t>
            </a:r>
          </a:p>
          <a:p>
            <a:r>
              <a:rPr lang="en-US" sz="1200" b="0" i="0" u="none" strike="noStrike" kern="1200" baseline="0" dirty="0">
                <a:solidFill>
                  <a:schemeClr val="tx1"/>
                </a:solidFill>
                <a:latin typeface="+mn-lt"/>
                <a:ea typeface="+mn-ea"/>
                <a:cs typeface="+mn-cs"/>
              </a:rPr>
              <a:t>155. From the Revenue and % Growth by Year column chart right click on 2017 </a:t>
            </a:r>
          </a:p>
          <a:p>
            <a:r>
              <a:rPr lang="en-US" sz="1200" b="0" i="0" u="none" strike="noStrike" kern="1200" baseline="0" dirty="0">
                <a:solidFill>
                  <a:schemeClr val="tx1"/>
                </a:solidFill>
                <a:latin typeface="+mn-lt"/>
                <a:ea typeface="+mn-ea"/>
                <a:cs typeface="+mn-cs"/>
              </a:rPr>
              <a:t>156. Select Analyze -&gt; Explain Increase </a:t>
            </a:r>
          </a:p>
          <a:p>
            <a:r>
              <a:rPr lang="en-US" sz="1200" b="0" i="0" u="none" strike="noStrike" kern="1200" baseline="0" dirty="0">
                <a:solidFill>
                  <a:schemeClr val="tx1"/>
                </a:solidFill>
                <a:latin typeface="+mn-lt"/>
                <a:ea typeface="+mn-ea"/>
                <a:cs typeface="+mn-cs"/>
              </a:rPr>
              <a:t>157. Talk about Power BI’s capability to provide insights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032117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58. Talk about the Custom visuals available in Microsoft store </a:t>
            </a:r>
          </a:p>
          <a:p>
            <a:r>
              <a:rPr lang="en-US" sz="1200" b="0" i="0" u="none" strike="noStrike" kern="1200" baseline="0" dirty="0">
                <a:solidFill>
                  <a:schemeClr val="tx1"/>
                </a:solidFill>
                <a:latin typeface="+mn-lt"/>
                <a:ea typeface="+mn-ea"/>
                <a:cs typeface="+mn-cs"/>
              </a:rPr>
              <a:t>159. Use the Play axis custom visual to demo the featur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905151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Market Share report page </a:t>
            </a:r>
          </a:p>
          <a:p>
            <a:r>
              <a:rPr lang="en-US" sz="1200" b="0" i="0" u="none" strike="noStrike" kern="1200" baseline="0" dirty="0">
                <a:solidFill>
                  <a:schemeClr val="tx1"/>
                </a:solidFill>
                <a:latin typeface="+mn-lt"/>
                <a:ea typeface="+mn-ea"/>
                <a:cs typeface="+mn-cs"/>
              </a:rPr>
              <a:t>161. Using the Line chart, talk about the various analytics feature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096028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2. Using DIAD Final Report with </a:t>
            </a:r>
            <a:r>
              <a:rPr lang="en-US" sz="1200" b="0" i="0" u="none" strike="noStrike" kern="1200" baseline="0" dirty="0" err="1">
                <a:solidFill>
                  <a:schemeClr val="tx1"/>
                </a:solidFill>
                <a:latin typeface="+mn-lt"/>
                <a:ea typeface="+mn-ea"/>
                <a:cs typeface="+mn-cs"/>
              </a:rPr>
              <a:t>RLS.pbix</a:t>
            </a:r>
            <a:r>
              <a:rPr lang="en-US" sz="1200" b="0" i="0" u="none" strike="noStrike" kern="1200" baseline="0" dirty="0">
                <a:solidFill>
                  <a:schemeClr val="tx1"/>
                </a:solidFill>
                <a:latin typeface="+mn-lt"/>
                <a:ea typeface="+mn-ea"/>
                <a:cs typeface="+mn-cs"/>
              </a:rPr>
              <a:t> file talk about the ability to create and manage roles hence implemen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2419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63. From the View menu, talk about Grid lines, Snap to Grid which helps in formatting </a:t>
            </a:r>
          </a:p>
          <a:p>
            <a:r>
              <a:rPr lang="en-US" sz="1200" b="0" i="0" u="none" strike="noStrike" kern="1200" baseline="0" dirty="0">
                <a:solidFill>
                  <a:schemeClr val="tx1"/>
                </a:solidFill>
                <a:latin typeface="+mn-lt"/>
                <a:ea typeface="+mn-ea"/>
                <a:cs typeface="+mn-cs"/>
              </a:rPr>
              <a:t>164. Format the new page you created using this feature </a:t>
            </a:r>
          </a:p>
          <a:p>
            <a:r>
              <a:rPr lang="en-US" sz="1200" b="0" i="0" u="none" strike="noStrike" kern="1200" baseline="0" dirty="0">
                <a:solidFill>
                  <a:schemeClr val="tx1"/>
                </a:solidFill>
                <a:latin typeface="+mn-lt"/>
                <a:ea typeface="+mn-ea"/>
                <a:cs typeface="+mn-cs"/>
              </a:rPr>
              <a:t>165. </a:t>
            </a:r>
            <a:r>
              <a:rPr lang="en-US" sz="1200" b="1" i="0" u="none" strike="noStrike" kern="1200" baseline="0" dirty="0">
                <a:solidFill>
                  <a:schemeClr val="tx1"/>
                </a:solidFill>
                <a:latin typeface="+mn-lt"/>
                <a:ea typeface="+mn-ea"/>
                <a:cs typeface="+mn-cs"/>
              </a:rPr>
              <a:t>Phone Layou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187081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324839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Publish</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3571240"/>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64806648"/>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3905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 Sign into https://app.powerbi.com. Let’s talk about configuring the gateway </a:t>
            </a:r>
          </a:p>
          <a:p>
            <a:r>
              <a:rPr lang="en-US" sz="1200" b="0" i="0" u="none" strike="noStrike" kern="1200" baseline="0" dirty="0">
                <a:solidFill>
                  <a:schemeClr val="tx1"/>
                </a:solidFill>
                <a:latin typeface="+mn-lt"/>
                <a:ea typeface="+mn-ea"/>
                <a:cs typeface="+mn-cs"/>
              </a:rPr>
              <a:t>2. From the menu on the top right, click on the gear and select Manage gateways </a:t>
            </a:r>
          </a:p>
          <a:p>
            <a:r>
              <a:rPr lang="en-US" sz="1200" b="0" i="0" u="none" strike="noStrike" kern="1200" baseline="0" dirty="0">
                <a:solidFill>
                  <a:schemeClr val="tx1"/>
                </a:solidFill>
                <a:latin typeface="+mn-lt"/>
                <a:ea typeface="+mn-ea"/>
                <a:cs typeface="+mn-cs"/>
              </a:rPr>
              <a:t>3. You will be navigated to Gateways screen. Notice the gateway you added is availabl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21891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101514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sing the line chart talk about the fact that </a:t>
            </a:r>
            <a:r>
              <a:rPr lang="en-US" sz="1200" b="0" i="0" u="none" strike="noStrike" kern="1200" baseline="0" dirty="0" err="1">
                <a:solidFill>
                  <a:schemeClr val="tx1"/>
                </a:solidFill>
                <a:latin typeface="+mn-lt"/>
                <a:ea typeface="+mn-ea"/>
                <a:cs typeface="+mn-cs"/>
              </a:rPr>
              <a:t>VanArsdel</a:t>
            </a:r>
            <a:r>
              <a:rPr lang="en-US" sz="1200" b="0" i="0" u="none" strike="noStrike" kern="1200" baseline="0" dirty="0">
                <a:solidFill>
                  <a:schemeClr val="tx1"/>
                </a:solidFill>
                <a:latin typeface="+mn-lt"/>
                <a:ea typeface="+mn-ea"/>
                <a:cs typeface="+mn-cs"/>
              </a:rPr>
              <a:t> has a large market share compared to other manufacturers. Also notice that sales are increasing Yo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674281"/>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ogin to https://app.powerbi.com impersonating an end user. Launch DIAD app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21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3603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You will be navigated to Gateways screen. Notice the gateway added is available.</a:t>
            </a:r>
          </a:p>
          <a:p>
            <a:r>
              <a:rPr lang="en-US" sz="1200" b="0" i="0" u="none" strike="noStrike" kern="1200" baseline="0" dirty="0">
                <a:solidFill>
                  <a:schemeClr val="tx1"/>
                </a:solidFill>
                <a:latin typeface="+mn-lt"/>
                <a:ea typeface="+mn-ea"/>
                <a:cs typeface="+mn-cs"/>
              </a:rPr>
              <a:t>The data gateway acts as a bridge, providing quick and secure data transfer </a:t>
            </a:r>
            <a:r>
              <a:rPr lang="en-US" sz="1200" b="1" i="0" u="none" strike="noStrike" kern="1200" baseline="0" dirty="0">
                <a:solidFill>
                  <a:schemeClr val="tx1"/>
                </a:solidFill>
                <a:latin typeface="+mn-lt"/>
                <a:ea typeface="+mn-ea"/>
                <a:cs typeface="+mn-cs"/>
              </a:rPr>
              <a:t>between on-premises data (data that is not in the cloud) </a:t>
            </a:r>
            <a:r>
              <a:rPr lang="en-US" sz="1200" b="0" i="0" u="none" strike="noStrike" kern="1200" baseline="0" dirty="0">
                <a:solidFill>
                  <a:schemeClr val="tx1"/>
                </a:solidFill>
                <a:latin typeface="+mn-lt"/>
                <a:ea typeface="+mn-ea"/>
                <a:cs typeface="+mn-cs"/>
              </a:rPr>
              <a:t>and the Power BI, Microsoft Flow, Logic Apps, and PowerApps services.</a:t>
            </a:r>
          </a:p>
          <a:p>
            <a:r>
              <a:rPr lang="en-US" sz="1200" b="0" i="0" u="none" strike="noStrike" kern="1200" baseline="0" dirty="0">
                <a:solidFill>
                  <a:schemeClr val="tx1"/>
                </a:solidFill>
                <a:latin typeface="+mn-lt"/>
                <a:ea typeface="+mn-ea"/>
                <a:cs typeface="+mn-cs"/>
              </a:rPr>
              <a:t>4. On the right panel of the screen you can add more informatio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64070"/>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On the right panel of the screen there is also an option to add Administrators for the gatewa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3729678"/>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he </a:t>
            </a:r>
            <a:r>
              <a:rPr lang="en-US" sz="1200" b="0" i="0" u="none" strike="noStrike" kern="1200" baseline="0" dirty="0" err="1">
                <a:solidFill>
                  <a:schemeClr val="tx1"/>
                </a:solidFill>
                <a:latin typeface="+mn-lt"/>
                <a:ea typeface="+mn-ea"/>
                <a:cs typeface="+mn-cs"/>
              </a:rPr>
              <a:t>elipses</a:t>
            </a:r>
            <a:r>
              <a:rPr lang="en-US" sz="1200" b="0" i="0" u="none" strike="noStrike" kern="1200" baseline="0" dirty="0">
                <a:solidFill>
                  <a:schemeClr val="tx1"/>
                </a:solidFill>
                <a:latin typeface="+mn-lt"/>
                <a:ea typeface="+mn-ea"/>
                <a:cs typeface="+mn-cs"/>
              </a:rPr>
              <a:t> to Add Data Sourc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81037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f you’re PC is on domain put the domain name in-front of the username </a:t>
            </a:r>
            <a:r>
              <a:rPr lang="en-US" sz="1200" b="0" i="0" u="none" strike="noStrike" kern="1200" baseline="0" dirty="0" err="1">
                <a:solidFill>
                  <a:schemeClr val="tx1"/>
                </a:solidFill>
                <a:latin typeface="+mn-lt"/>
                <a:ea typeface="+mn-ea"/>
                <a:cs typeface="+mn-cs"/>
              </a:rPr>
              <a:t>ie</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FleitasArts</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hfleitas</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options under Advanced settings, Privacy Level default is Organizational.</a:t>
            </a:r>
          </a:p>
          <a:p>
            <a:r>
              <a:rPr lang="en-US" sz="1200" b="0" i="0" u="none" strike="noStrike" kern="1200" baseline="0" dirty="0">
                <a:solidFill>
                  <a:schemeClr val="tx1"/>
                </a:solidFill>
                <a:latin typeface="+mn-lt"/>
                <a:ea typeface="+mn-ea"/>
                <a:cs typeface="+mn-cs"/>
              </a:rPr>
              <a:t>Click Ad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462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02766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nnection must say Successful.</a:t>
            </a:r>
          </a:p>
          <a:p>
            <a:r>
              <a:rPr lang="en-US" sz="1200" b="0" i="0" u="none" strike="noStrike" kern="1200" baseline="0" dirty="0">
                <a:solidFill>
                  <a:schemeClr val="tx1"/>
                </a:solidFill>
                <a:latin typeface="+mn-lt"/>
                <a:ea typeface="+mn-ea"/>
                <a:cs typeface="+mn-cs"/>
              </a:rPr>
              <a:t>Note, </a:t>
            </a:r>
            <a:r>
              <a:rPr lang="en-US" sz="1200" b="1" i="0" u="none" strike="noStrike" kern="1200" baseline="0" dirty="0">
                <a:solidFill>
                  <a:schemeClr val="tx1"/>
                </a:solidFill>
                <a:latin typeface="+mn-lt"/>
                <a:ea typeface="+mn-ea"/>
                <a:cs typeface="+mn-cs"/>
              </a:rPr>
              <a:t>Folder</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26967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look at how refresh is going to work. </a:t>
            </a:r>
          </a:p>
          <a:p>
            <a:r>
              <a:rPr lang="en-US" sz="1200" b="0" i="0" u="none" strike="noStrike" kern="1200" baseline="0" dirty="0">
                <a:solidFill>
                  <a:schemeClr val="tx1"/>
                </a:solidFill>
                <a:latin typeface="+mn-lt"/>
                <a:ea typeface="+mn-ea"/>
                <a:cs typeface="+mn-cs"/>
              </a:rPr>
              <a:t>22. If the left panel is collapsed, expand it by clicking on the three bars below </a:t>
            </a:r>
            <a:r>
              <a:rPr lang="en-US" sz="1200" b="0" i="0" u="none" strike="noStrike" kern="1200" baseline="0" dirty="0" err="1">
                <a:solidFill>
                  <a:schemeClr val="tx1"/>
                </a:solidFill>
                <a:latin typeface="+mn-lt"/>
                <a:ea typeface="+mn-ea"/>
                <a:cs typeface="+mn-cs"/>
              </a:rPr>
              <a:t>PowerBI</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23. Navigate to Datasets section on the left panel and locate the dataset called DIAD Final Report. Click on the ellipses and click on Schedule Refresh as shown in the screensho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871798"/>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e Settings page, you will see the Datasets section is selected. </a:t>
            </a:r>
          </a:p>
          <a:p>
            <a:r>
              <a:rPr lang="en-US" sz="1200" b="0" i="0" u="none" strike="noStrike" kern="1200" baseline="0" dirty="0">
                <a:solidFill>
                  <a:schemeClr val="tx1"/>
                </a:solidFill>
                <a:latin typeface="+mn-lt"/>
                <a:ea typeface="+mn-ea"/>
                <a:cs typeface="+mn-cs"/>
              </a:rPr>
              <a:t>24. The Power BI service has detected that you have setup a Gateway. Expand Gateway connection. </a:t>
            </a:r>
          </a:p>
          <a:p>
            <a:r>
              <a:rPr lang="en-US" sz="1200" b="0" i="0" u="none" strike="noStrike" kern="1200" baseline="0" dirty="0">
                <a:solidFill>
                  <a:schemeClr val="tx1"/>
                </a:solidFill>
                <a:latin typeface="+mn-lt"/>
                <a:ea typeface="+mn-ea"/>
                <a:cs typeface="+mn-cs"/>
              </a:rPr>
              <a:t>25. Select Use a data gateway and click Appl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dialog appears confirming the gateway for DIAD- Report Final has been update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11867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let’s schedule data refresh. Notice that you do not have to re-enter the credentials for each data source again. Since it is set up at the gateway level. </a:t>
            </a:r>
          </a:p>
          <a:p>
            <a:r>
              <a:rPr lang="en-US" sz="1200" b="0" i="0" u="none" strike="noStrike" kern="1200" baseline="0" dirty="0">
                <a:solidFill>
                  <a:schemeClr val="tx1"/>
                </a:solidFill>
                <a:latin typeface="+mn-lt"/>
                <a:ea typeface="+mn-ea"/>
                <a:cs typeface="+mn-cs"/>
              </a:rPr>
              <a:t>26. Expand Schedule Refresh section. </a:t>
            </a:r>
          </a:p>
          <a:p>
            <a:r>
              <a:rPr lang="en-US" sz="1200" b="0" i="0" u="none" strike="noStrike" kern="1200" baseline="0" dirty="0">
                <a:solidFill>
                  <a:schemeClr val="tx1"/>
                </a:solidFill>
                <a:latin typeface="+mn-lt"/>
                <a:ea typeface="+mn-ea"/>
                <a:cs typeface="+mn-cs"/>
              </a:rPr>
              <a:t>27. Enable data refresh by moving the slider below “Keep your data up to date”. </a:t>
            </a:r>
          </a:p>
          <a:p>
            <a:r>
              <a:rPr lang="en-US" sz="1200" b="0" i="0" u="none" strike="noStrike" kern="1200" baseline="0" dirty="0">
                <a:solidFill>
                  <a:schemeClr val="tx1"/>
                </a:solidFill>
                <a:latin typeface="+mn-lt"/>
                <a:ea typeface="+mn-ea"/>
                <a:cs typeface="+mn-cs"/>
              </a:rPr>
              <a:t>28. There are two options for Refresh Frequency, daily and weekly. Pick Daily. </a:t>
            </a:r>
          </a:p>
          <a:p>
            <a:r>
              <a:rPr lang="en-US" sz="1200" b="0" i="0" u="none" strike="noStrike" kern="1200" baseline="0" dirty="0">
                <a:solidFill>
                  <a:schemeClr val="tx1"/>
                </a:solidFill>
                <a:latin typeface="+mn-lt"/>
                <a:ea typeface="+mn-ea"/>
                <a:cs typeface="+mn-cs"/>
              </a:rPr>
              <a:t>29. Using “Time Zone” drop down update the time zone to the appropriate selection. </a:t>
            </a:r>
          </a:p>
          <a:p>
            <a:r>
              <a:rPr lang="en-US" sz="1200" b="0" i="0" u="none" strike="noStrike" kern="1200" baseline="0" dirty="0">
                <a:solidFill>
                  <a:schemeClr val="tx1"/>
                </a:solidFill>
                <a:latin typeface="+mn-lt"/>
                <a:ea typeface="+mn-ea"/>
                <a:cs typeface="+mn-cs"/>
              </a:rPr>
              <a:t>30. Click on “Add another time” to select refresh time. </a:t>
            </a:r>
          </a:p>
          <a:p>
            <a:r>
              <a:rPr lang="en-US" sz="1200" b="0" i="0" u="none" strike="noStrike" kern="1200" baseline="0" dirty="0">
                <a:solidFill>
                  <a:schemeClr val="tx1"/>
                </a:solidFill>
                <a:latin typeface="+mn-lt"/>
                <a:ea typeface="+mn-ea"/>
                <a:cs typeface="+mn-cs"/>
              </a:rPr>
              <a:t>31. Data refresh can be scheduled on the hour or 30min.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900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ompany sold Germany, so lets remove it from the folder.</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84563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fter the Refresh completes, the report will not longer show the Germany bubble on the map under EUROP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92748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set the service to Log On As my account so it could access the directory.</a:t>
            </a:r>
          </a:p>
          <a:p>
            <a:r>
              <a:rPr lang="en-US" sz="1200" b="0" i="0" u="none" strike="noStrike" kern="1200" baseline="0" dirty="0">
                <a:solidFill>
                  <a:schemeClr val="tx1"/>
                </a:solidFill>
                <a:latin typeface="+mn-lt"/>
                <a:ea typeface="+mn-ea"/>
                <a:cs typeface="+mn-cs"/>
              </a:rPr>
              <a:t>This will require to open the On-Premises data gateway, login again and recover the gateway using the ke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94670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Germany no longer appears in the map visua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03468"/>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w we have the model and report ready, we want to add security around it, so that individuals from a USA view only USA data and individuals from Mexico view only Mexico data and so forth. </a:t>
            </a:r>
          </a:p>
          <a:p>
            <a:r>
              <a:rPr lang="en-US" sz="1200" b="0" i="0" u="none" strike="noStrike" kern="1200" baseline="0" dirty="0">
                <a:solidFill>
                  <a:schemeClr val="tx1"/>
                </a:solidFill>
                <a:latin typeface="+mn-lt"/>
                <a:ea typeface="+mn-ea"/>
                <a:cs typeface="+mn-cs"/>
              </a:rPr>
              <a:t>1. From the ribbon select Modeling -&gt; Manage Roles. </a:t>
            </a:r>
          </a:p>
          <a:p>
            <a:r>
              <a:rPr lang="en-US" sz="1200" b="0" i="0" u="none" strike="noStrike" kern="1200" baseline="0" dirty="0">
                <a:solidFill>
                  <a:schemeClr val="tx1"/>
                </a:solidFill>
                <a:latin typeface="+mn-lt"/>
                <a:ea typeface="+mn-ea"/>
                <a:cs typeface="+mn-cs"/>
              </a:rPr>
              <a:t>2. Manage roles dialog opens. Click on Create button. </a:t>
            </a:r>
          </a:p>
          <a:p>
            <a:r>
              <a:rPr lang="en-US" sz="1200" b="0" i="0" u="none" strike="noStrike" kern="1200" baseline="0" dirty="0">
                <a:solidFill>
                  <a:schemeClr val="tx1"/>
                </a:solidFill>
                <a:latin typeface="+mn-lt"/>
                <a:ea typeface="+mn-ea"/>
                <a:cs typeface="+mn-cs"/>
              </a:rPr>
              <a:t>3. Name the role as US Role</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Click on the ellipsis next to Geography</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5. Select Add Filter -&gt; [Country].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otice a DAX Expression appears in the text area. </a:t>
            </a:r>
          </a:p>
          <a:p>
            <a:r>
              <a:rPr lang="en-US" sz="1200" b="0" i="0" u="none" strike="noStrike" kern="1200" baseline="0" dirty="0">
                <a:solidFill>
                  <a:schemeClr val="tx1"/>
                </a:solidFill>
                <a:latin typeface="+mn-lt"/>
                <a:ea typeface="+mn-ea"/>
                <a:cs typeface="+mn-cs"/>
              </a:rPr>
              <a:t>6. Edit the DAX Expression to [Country] = "USA".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lick on the check mark on the top right corner. This will validate the DAX expression. 	</a:t>
            </a:r>
          </a:p>
          <a:p>
            <a:r>
              <a:rPr lang="en-US" sz="1200" b="0" i="0" u="none" strike="noStrike" kern="1200" baseline="0" dirty="0">
                <a:solidFill>
                  <a:schemeClr val="tx1"/>
                </a:solidFill>
                <a:latin typeface="+mn-lt"/>
                <a:ea typeface="+mn-ea"/>
                <a:cs typeface="+mn-cs"/>
              </a:rPr>
              <a:t>Similarly add roles for Australia, Canada, France, Japan and Mexico using the following DAX Expressions. Australia Role </a:t>
            </a:r>
            <a:r>
              <a:rPr lang="en-US" sz="1200" b="1" i="0" u="none" strike="noStrike" kern="1200" baseline="0" dirty="0">
                <a:solidFill>
                  <a:schemeClr val="tx1"/>
                </a:solidFill>
                <a:latin typeface="+mn-lt"/>
                <a:ea typeface="+mn-ea"/>
                <a:cs typeface="+mn-cs"/>
              </a:rPr>
              <a:t>[Country] = "Australi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anada Role </a:t>
            </a:r>
            <a:r>
              <a:rPr lang="en-US" sz="1200" b="1" i="0" u="none" strike="noStrike" kern="1200" baseline="0" dirty="0">
                <a:solidFill>
                  <a:schemeClr val="tx1"/>
                </a:solidFill>
                <a:latin typeface="+mn-lt"/>
                <a:ea typeface="+mn-ea"/>
                <a:cs typeface="+mn-cs"/>
              </a:rPr>
              <a:t>[Country] = "Canada"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ermany Role </a:t>
            </a:r>
            <a:r>
              <a:rPr lang="en-US" sz="1200" b="1" i="0" u="none" strike="noStrike" kern="1200" baseline="0" dirty="0">
                <a:solidFill>
                  <a:schemeClr val="tx1"/>
                </a:solidFill>
                <a:latin typeface="+mn-lt"/>
                <a:ea typeface="+mn-ea"/>
                <a:cs typeface="+mn-cs"/>
              </a:rPr>
              <a:t>[Country] = "Germany"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Japan Role </a:t>
            </a:r>
            <a:r>
              <a:rPr lang="en-US" sz="1200" b="1" i="0" u="none" strike="noStrike" kern="1200" baseline="0" dirty="0">
                <a:solidFill>
                  <a:schemeClr val="tx1"/>
                </a:solidFill>
                <a:latin typeface="+mn-lt"/>
                <a:ea typeface="+mn-ea"/>
                <a:cs typeface="+mn-cs"/>
              </a:rPr>
              <a:t>[Country] = "Japan"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xico Role </a:t>
            </a:r>
            <a:r>
              <a:rPr lang="en-US" sz="1200" b="1" i="0" u="none" strike="noStrike" kern="1200" baseline="0" dirty="0">
                <a:solidFill>
                  <a:schemeClr val="tx1"/>
                </a:solidFill>
                <a:latin typeface="+mn-lt"/>
                <a:ea typeface="+mn-ea"/>
                <a:cs typeface="+mn-cs"/>
              </a:rPr>
              <a:t>[Country] = "Mexico"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Nigeria Role </a:t>
            </a:r>
            <a:r>
              <a:rPr lang="en-US" sz="1200" b="1" i="0" u="none" strike="noStrike" kern="1200" baseline="0" dirty="0">
                <a:solidFill>
                  <a:schemeClr val="tx1"/>
                </a:solidFill>
                <a:latin typeface="+mn-lt"/>
                <a:ea typeface="+mn-ea"/>
                <a:cs typeface="+mn-cs"/>
              </a:rPr>
              <a:t>[Country] = "Nigeria" </a:t>
            </a:r>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6455108"/>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now you are viewing as a person with Mexico Role would view. </a:t>
            </a:r>
          </a:p>
          <a:p>
            <a:r>
              <a:rPr lang="en-US" sz="1200" b="0" i="0" u="none" strike="noStrike" kern="1200" baseline="0" dirty="0">
                <a:solidFill>
                  <a:schemeClr val="tx1"/>
                </a:solidFill>
                <a:latin typeface="+mn-lt"/>
                <a:ea typeface="+mn-ea"/>
                <a:cs typeface="+mn-cs"/>
              </a:rPr>
              <a:t>11. Click on Stop viewing to exit Mexico Role view. </a:t>
            </a:r>
          </a:p>
          <a:p>
            <a:r>
              <a:rPr lang="en-US" sz="1200" b="0" i="0" u="none" strike="noStrike" kern="1200" baseline="0" dirty="0">
                <a:solidFill>
                  <a:schemeClr val="tx1"/>
                </a:solidFill>
                <a:latin typeface="+mn-lt"/>
                <a:ea typeface="+mn-ea"/>
                <a:cs typeface="+mn-cs"/>
              </a:rPr>
              <a:t>We will add users to these roles in the service. You should have already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4060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20144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ype the email, select the correct one as it appears, click Add, click Save.</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6904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o remove, click the X and then click Save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25802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alkthrough the Power BI Service layout </a:t>
            </a:r>
          </a:p>
          <a:p>
            <a:r>
              <a:rPr lang="en-US" sz="1200" b="0" i="0" u="none" strike="noStrike" kern="1200" baseline="0" dirty="0">
                <a:solidFill>
                  <a:schemeClr val="tx1"/>
                </a:solidFill>
                <a:latin typeface="+mn-lt"/>
                <a:ea typeface="+mn-ea"/>
                <a:cs typeface="+mn-cs"/>
              </a:rPr>
              <a:t>Your workspace is made up of: </a:t>
            </a:r>
          </a:p>
          <a:p>
            <a:r>
              <a:rPr lang="en-US" sz="1200" b="0" i="0" u="none" strike="noStrike" kern="1200" baseline="0" dirty="0">
                <a:solidFill>
                  <a:schemeClr val="tx1"/>
                </a:solidFill>
                <a:latin typeface="+mn-lt"/>
                <a:ea typeface="+mn-ea"/>
                <a:cs typeface="+mn-cs"/>
              </a:rPr>
              <a:t>1. navigation bar </a:t>
            </a:r>
          </a:p>
          <a:p>
            <a:r>
              <a:rPr lang="en-US" sz="1200" b="0" i="0" u="none" strike="noStrike" kern="1200" baseline="0" dirty="0">
                <a:solidFill>
                  <a:schemeClr val="tx1"/>
                </a:solidFill>
                <a:latin typeface="+mn-lt"/>
                <a:ea typeface="+mn-ea"/>
                <a:cs typeface="+mn-cs"/>
              </a:rPr>
              <a:t>2. dashboard with tiles </a:t>
            </a:r>
          </a:p>
          <a:p>
            <a:r>
              <a:rPr lang="en-US" sz="1200" b="0" i="0" u="none" strike="noStrike" kern="1200" baseline="0" dirty="0">
                <a:solidFill>
                  <a:schemeClr val="tx1"/>
                </a:solidFill>
                <a:latin typeface="+mn-lt"/>
                <a:ea typeface="+mn-ea"/>
                <a:cs typeface="+mn-cs"/>
              </a:rPr>
              <a:t>3. Q&amp;A question box </a:t>
            </a:r>
          </a:p>
          <a:p>
            <a:r>
              <a:rPr lang="en-US" sz="1200" b="0" i="0" u="none" strike="noStrike" kern="1200" baseline="0" dirty="0">
                <a:solidFill>
                  <a:schemeClr val="tx1"/>
                </a:solidFill>
                <a:latin typeface="+mn-lt"/>
                <a:ea typeface="+mn-ea"/>
                <a:cs typeface="+mn-cs"/>
              </a:rPr>
              <a:t>4. help and feedback buttons </a:t>
            </a:r>
          </a:p>
          <a:p>
            <a:r>
              <a:rPr lang="en-US" sz="1200" b="0" i="0" u="none" strike="noStrike" kern="1200" baseline="0" dirty="0">
                <a:solidFill>
                  <a:schemeClr val="tx1"/>
                </a:solidFill>
                <a:latin typeface="+mn-lt"/>
                <a:ea typeface="+mn-ea"/>
                <a:cs typeface="+mn-cs"/>
              </a:rPr>
              <a:t>5. dashboard title </a:t>
            </a:r>
          </a:p>
          <a:p>
            <a:r>
              <a:rPr lang="en-US" sz="1200" b="0" i="0" u="none" strike="noStrike" kern="1200" baseline="0" dirty="0">
                <a:solidFill>
                  <a:schemeClr val="tx1"/>
                </a:solidFill>
                <a:latin typeface="+mn-lt"/>
                <a:ea typeface="+mn-ea"/>
                <a:cs typeface="+mn-cs"/>
              </a:rPr>
              <a:t>6. Office 365 app launcher </a:t>
            </a:r>
          </a:p>
          <a:p>
            <a:r>
              <a:rPr lang="en-US" sz="1200" b="0" i="0" u="none" strike="noStrike" kern="1200" baseline="0" dirty="0">
                <a:solidFill>
                  <a:schemeClr val="tx1"/>
                </a:solidFill>
                <a:latin typeface="+mn-lt"/>
                <a:ea typeface="+mn-ea"/>
                <a:cs typeface="+mn-cs"/>
              </a:rPr>
              <a:t>7. Power BI home buttons </a:t>
            </a:r>
          </a:p>
          <a:p>
            <a:r>
              <a:rPr lang="en-US" sz="1200" b="0" i="0" u="none" strike="noStrike" kern="1200" baseline="0" dirty="0">
                <a:solidFill>
                  <a:schemeClr val="tx1"/>
                </a:solidFill>
                <a:latin typeface="+mn-lt"/>
                <a:ea typeface="+mn-ea"/>
                <a:cs typeface="+mn-cs"/>
              </a:rPr>
              <a:t>8. Additional dashboard action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ability to publish a report to the Power BI Servic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alk about the 3 main sections in Power BI Service </a:t>
            </a:r>
          </a:p>
          <a:p>
            <a:r>
              <a:rPr lang="en-US" sz="1200" b="0" i="0" u="none" strike="noStrike" kern="1200" baseline="0" dirty="0">
                <a:solidFill>
                  <a:schemeClr val="tx1"/>
                </a:solidFill>
                <a:latin typeface="+mn-lt"/>
                <a:ea typeface="+mn-ea"/>
                <a:cs typeface="+mn-cs"/>
              </a:rPr>
              <a:t>• Dashboards </a:t>
            </a:r>
          </a:p>
          <a:p>
            <a:r>
              <a:rPr lang="en-US" sz="1200" b="0" i="0" u="none" strike="noStrike" kern="1200" baseline="0" dirty="0">
                <a:solidFill>
                  <a:schemeClr val="tx1"/>
                </a:solidFill>
                <a:latin typeface="+mn-lt"/>
                <a:ea typeface="+mn-ea"/>
                <a:cs typeface="+mn-cs"/>
              </a:rPr>
              <a:t>• Reports </a:t>
            </a:r>
          </a:p>
          <a:p>
            <a:r>
              <a:rPr lang="en-US" sz="1200" b="0" i="0" u="none" strike="noStrike" kern="1200" baseline="0" dirty="0">
                <a:solidFill>
                  <a:schemeClr val="tx1"/>
                </a:solidFill>
                <a:latin typeface="+mn-lt"/>
                <a:ea typeface="+mn-ea"/>
                <a:cs typeface="+mn-cs"/>
              </a:rPr>
              <a:t>• Dataset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58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96887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40632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40099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242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alk about the ability to distribute and install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33362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174</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4</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18741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10:0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68981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44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8036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131967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4849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42017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38134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751520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76733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38879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175478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325879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29759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the ribbon select </a:t>
            </a:r>
            <a:r>
              <a:rPr lang="en-US" sz="1200" b="1" i="0" u="none" strike="noStrike" kern="1200" baseline="0" dirty="0">
                <a:solidFill>
                  <a:schemeClr val="tx1"/>
                </a:solidFill>
                <a:latin typeface="+mn-lt"/>
                <a:ea typeface="+mn-ea"/>
                <a:cs typeface="+mn-cs"/>
              </a:rPr>
              <a:t>Home</a:t>
            </a:r>
            <a:r>
              <a:rPr lang="en-US" sz="1200" b="0" i="0" u="none" strike="noStrike" kern="1200" baseline="0" dirty="0">
                <a:solidFill>
                  <a:schemeClr val="tx1"/>
                </a:solidFill>
                <a:latin typeface="+mn-lt"/>
                <a:ea typeface="+mn-ea"/>
                <a:cs typeface="+mn-cs"/>
              </a:rPr>
              <a:t> -&gt; </a:t>
            </a:r>
            <a:r>
              <a:rPr lang="en-US" sz="1200" b="1" i="0" u="none" strike="noStrike" kern="1200" baseline="0" dirty="0">
                <a:solidFill>
                  <a:schemeClr val="tx1"/>
                </a:solidFill>
                <a:latin typeface="+mn-lt"/>
                <a:ea typeface="+mn-ea"/>
                <a:cs typeface="+mn-cs"/>
              </a:rPr>
              <a:t>Get Data</a:t>
            </a:r>
            <a:r>
              <a:rPr lang="en-US" sz="1200" b="0" i="0" u="none" strike="noStrike" kern="1200" baseline="0" dirty="0">
                <a:solidFill>
                  <a:schemeClr val="tx1"/>
                </a:solidFill>
                <a:latin typeface="+mn-lt"/>
                <a:ea typeface="+mn-ea"/>
                <a:cs typeface="+mn-cs"/>
              </a:rPr>
              <a:t> -&gt; More… </a:t>
            </a:r>
          </a:p>
          <a:p>
            <a:r>
              <a:rPr lang="en-US" sz="1200" b="0" i="0" u="none" strike="noStrike" kern="1200" baseline="0" dirty="0">
                <a:solidFill>
                  <a:schemeClr val="tx1"/>
                </a:solidFill>
                <a:latin typeface="+mn-lt"/>
                <a:ea typeface="+mn-ea"/>
                <a:cs typeface="+mn-cs"/>
              </a:rPr>
              <a:t>Talk about the variety of sources supported:</a:t>
            </a:r>
          </a:p>
          <a:p>
            <a:r>
              <a:rPr lang="en-US" sz="1200" b="0" i="0" u="none" strike="noStrike" kern="1200" baseline="0" dirty="0">
                <a:solidFill>
                  <a:schemeClr val="tx1"/>
                </a:solidFill>
                <a:latin typeface="+mn-lt"/>
                <a:ea typeface="+mn-ea"/>
                <a:cs typeface="+mn-cs"/>
              </a:rPr>
              <a:t>• File </a:t>
            </a:r>
          </a:p>
          <a:p>
            <a:r>
              <a:rPr lang="en-US" sz="1200" b="0" i="0" u="none" strike="noStrike" kern="1200" baseline="0" dirty="0">
                <a:solidFill>
                  <a:schemeClr val="tx1"/>
                </a:solidFill>
                <a:latin typeface="+mn-lt"/>
                <a:ea typeface="+mn-ea"/>
                <a:cs typeface="+mn-cs"/>
              </a:rPr>
              <a:t>• Database </a:t>
            </a:r>
          </a:p>
          <a:p>
            <a:r>
              <a:rPr lang="en-US" sz="1200" b="0" i="0" u="none" strike="noStrike" kern="1200" baseline="0" dirty="0">
                <a:solidFill>
                  <a:schemeClr val="tx1"/>
                </a:solidFill>
                <a:latin typeface="+mn-lt"/>
                <a:ea typeface="+mn-ea"/>
                <a:cs typeface="+mn-cs"/>
              </a:rPr>
              <a:t>• Azure </a:t>
            </a:r>
          </a:p>
          <a:p>
            <a:r>
              <a:rPr lang="en-US" sz="1200" b="0" i="0" u="none" strike="noStrike" kern="1200" baseline="0" dirty="0">
                <a:solidFill>
                  <a:schemeClr val="tx1"/>
                </a:solidFill>
                <a:latin typeface="+mn-lt"/>
                <a:ea typeface="+mn-ea"/>
                <a:cs typeface="+mn-cs"/>
              </a:rPr>
              <a:t>• Othe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161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5 queries are created from the 1 workbook, a csv file and a folder data source.</a:t>
            </a:r>
          </a:p>
          <a:p>
            <a:r>
              <a:rPr lang="en-US" sz="1200" b="0" i="0" u="none" strike="noStrike" kern="1200" baseline="0" dirty="0">
                <a:solidFill>
                  <a:schemeClr val="tx1"/>
                </a:solidFill>
                <a:latin typeface="+mn-lt"/>
                <a:ea typeface="+mn-ea"/>
                <a:cs typeface="+mn-cs"/>
              </a:rPr>
              <a:t>There are data preparation and </a:t>
            </a:r>
            <a:r>
              <a:rPr lang="en-US" sz="1200" b="1" i="0" u="none" strike="noStrike" kern="1200" baseline="0" dirty="0">
                <a:solidFill>
                  <a:schemeClr val="tx1"/>
                </a:solidFill>
                <a:latin typeface="+mn-lt"/>
                <a:ea typeface="+mn-ea"/>
                <a:cs typeface="+mn-cs"/>
              </a:rPr>
              <a:t>transformation</a:t>
            </a:r>
            <a:r>
              <a:rPr lang="en-US" sz="1200" b="0" i="0" u="none" strike="noStrike" kern="1200" baseline="0" dirty="0">
                <a:solidFill>
                  <a:schemeClr val="tx1"/>
                </a:solidFill>
                <a:latin typeface="+mn-lt"/>
                <a:ea typeface="+mn-ea"/>
                <a:cs typeface="+mn-cs"/>
              </a:rPr>
              <a:t> options. </a:t>
            </a:r>
          </a:p>
          <a:p>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Add/Delete Columns and Rows </a:t>
            </a:r>
          </a:p>
          <a:p>
            <a:r>
              <a:rPr lang="en-US" sz="1200" b="0" i="0" u="none" strike="noStrike" kern="1200" baseline="0" dirty="0">
                <a:solidFill>
                  <a:schemeClr val="tx1"/>
                </a:solidFill>
                <a:latin typeface="+mn-lt"/>
                <a:ea typeface="+mn-ea"/>
                <a:cs typeface="+mn-cs"/>
              </a:rPr>
              <a:t>• Change </a:t>
            </a:r>
            <a:r>
              <a:rPr lang="en-US" sz="1200" b="1" i="0" u="none" strike="noStrike" kern="1200" baseline="0" dirty="0">
                <a:solidFill>
                  <a:schemeClr val="tx1"/>
                </a:solidFill>
                <a:latin typeface="+mn-lt"/>
                <a:ea typeface="+mn-ea"/>
                <a:cs typeface="+mn-cs"/>
              </a:rPr>
              <a:t>Data Typ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lect Sales query </a:t>
            </a:r>
          </a:p>
          <a:p>
            <a:r>
              <a:rPr lang="en-US" sz="1200" b="0" i="0" u="none" strike="noStrike" kern="1200" baseline="0" dirty="0">
                <a:solidFill>
                  <a:schemeClr val="tx1"/>
                </a:solidFill>
                <a:latin typeface="+mn-lt"/>
                <a:ea typeface="+mn-ea"/>
                <a:cs typeface="+mn-cs"/>
              </a:rPr>
              <a:t>83. Walk through the </a:t>
            </a:r>
            <a:r>
              <a:rPr lang="en-US" sz="1200" b="1" i="0" u="none" strike="noStrike" kern="1200" baseline="0" dirty="0">
                <a:solidFill>
                  <a:schemeClr val="tx1"/>
                </a:solidFill>
                <a:latin typeface="+mn-lt"/>
                <a:ea typeface="+mn-ea"/>
                <a:cs typeface="+mn-cs"/>
              </a:rPr>
              <a:t>APPLIED STEPS </a:t>
            </a:r>
          </a:p>
          <a:p>
            <a:r>
              <a:rPr lang="en-US" sz="1200" b="0" i="0" u="none" strike="noStrike" kern="1200" baseline="0" dirty="0">
                <a:solidFill>
                  <a:schemeClr val="tx1"/>
                </a:solidFill>
                <a:latin typeface="+mn-lt"/>
                <a:ea typeface="+mn-ea"/>
                <a:cs typeface="+mn-cs"/>
              </a:rPr>
              <a:t>84. Talk about Append in Sales and difference between Append and Merge </a:t>
            </a:r>
          </a:p>
          <a:p>
            <a:r>
              <a:rPr lang="en-US" sz="1200" b="0" i="0" u="none" strike="noStrike" kern="1200" baseline="0" dirty="0">
                <a:solidFill>
                  <a:schemeClr val="tx1"/>
                </a:solidFill>
                <a:latin typeface="+mn-lt"/>
                <a:ea typeface="+mn-ea"/>
                <a:cs typeface="+mn-cs"/>
              </a:rPr>
              <a:t>85. Talk about Add Conditional column </a:t>
            </a:r>
          </a:p>
          <a:p>
            <a:r>
              <a:rPr lang="en-US" sz="1200" b="0" i="0" u="none" strike="noStrike" kern="1200" baseline="0" dirty="0">
                <a:solidFill>
                  <a:schemeClr val="tx1"/>
                </a:solidFill>
                <a:latin typeface="+mn-lt"/>
                <a:ea typeface="+mn-ea"/>
                <a:cs typeface="+mn-cs"/>
              </a:rPr>
              <a:t>86. Talk about Query Dependencies </a:t>
            </a:r>
          </a:p>
          <a:p>
            <a:r>
              <a:rPr lang="en-US" sz="1200" b="0" i="0" u="none" strike="noStrike" kern="1200" baseline="0" dirty="0">
                <a:solidFill>
                  <a:schemeClr val="tx1"/>
                </a:solidFill>
                <a:latin typeface="+mn-lt"/>
                <a:ea typeface="+mn-ea"/>
                <a:cs typeface="+mn-cs"/>
              </a:rPr>
              <a:t>87. Close Query Editor window </a:t>
            </a:r>
          </a:p>
          <a:p>
            <a:r>
              <a:rPr lang="en-US" sz="1200" b="0" i="0" u="none" strike="noStrike" kern="1200" baseline="0" dirty="0">
                <a:solidFill>
                  <a:schemeClr val="tx1"/>
                </a:solidFill>
                <a:latin typeface="+mn-lt"/>
                <a:ea typeface="+mn-ea"/>
                <a:cs typeface="+mn-cs"/>
              </a:rPr>
              <a:t>88. If you have time, talk about data transformations performed in the other queri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7897873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Transform menu</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11934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perations under </a:t>
            </a:r>
            <a:r>
              <a:rPr lang="en-US" sz="1200" b="1" i="0" u="none" strike="noStrike" kern="1200" baseline="0" dirty="0">
                <a:solidFill>
                  <a:schemeClr val="tx1"/>
                </a:solidFill>
                <a:latin typeface="+mn-lt"/>
                <a:ea typeface="+mn-ea"/>
                <a:cs typeface="+mn-cs"/>
              </a:rPr>
              <a:t>Add Column menu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4086997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a:t>
            </a:r>
            <a:r>
              <a:rPr lang="en-US" sz="1200" b="1" i="0" u="none" strike="noStrike" kern="1200" baseline="0" dirty="0">
                <a:solidFill>
                  <a:schemeClr val="tx1"/>
                </a:solidFill>
                <a:latin typeface="+mn-lt"/>
                <a:ea typeface="+mn-ea"/>
                <a:cs typeface="+mn-cs"/>
              </a:rPr>
              <a:t>Relationships</a:t>
            </a:r>
            <a:r>
              <a:rPr lang="en-US" sz="1200" b="0" i="0" u="none" strike="noStrike" kern="1200" baseline="0" dirty="0">
                <a:solidFill>
                  <a:schemeClr val="tx1"/>
                </a:solidFill>
                <a:latin typeface="+mn-lt"/>
                <a:ea typeface="+mn-ea"/>
                <a:cs typeface="+mn-cs"/>
              </a:rPr>
              <a:t> section </a:t>
            </a:r>
          </a:p>
          <a:p>
            <a:r>
              <a:rPr lang="en-US" sz="1200" b="0" i="0" u="none" strike="noStrike" kern="1200" baseline="0" dirty="0">
                <a:solidFill>
                  <a:schemeClr val="tx1"/>
                </a:solidFill>
                <a:latin typeface="+mn-lt"/>
                <a:ea typeface="+mn-ea"/>
                <a:cs typeface="+mn-cs"/>
              </a:rPr>
              <a:t>90. Talk about the relationships that are created to connect all the queries </a:t>
            </a:r>
          </a:p>
          <a:p>
            <a:r>
              <a:rPr lang="en-US" sz="1200" b="0" i="0" u="none" strike="noStrike" kern="1200" baseline="0" dirty="0">
                <a:solidFill>
                  <a:schemeClr val="tx1"/>
                </a:solidFill>
                <a:latin typeface="+mn-lt"/>
                <a:ea typeface="+mn-ea"/>
                <a:cs typeface="+mn-cs"/>
              </a:rPr>
              <a:t>91. </a:t>
            </a:r>
            <a:r>
              <a:rPr lang="en-US" sz="1200" b="1" i="0" u="none" strike="noStrike" kern="1200" baseline="0" dirty="0">
                <a:solidFill>
                  <a:schemeClr val="tx1"/>
                </a:solidFill>
                <a:latin typeface="+mn-lt"/>
                <a:ea typeface="+mn-ea"/>
                <a:cs typeface="+mn-cs"/>
              </a:rPr>
              <a:t>Click on Manage Relationships and show the dialogue </a:t>
            </a:r>
          </a:p>
          <a:p>
            <a:r>
              <a:rPr lang="en-US" sz="1200" b="0" i="0" u="none" strike="noStrike" kern="1200" baseline="0" dirty="0">
                <a:solidFill>
                  <a:schemeClr val="tx1"/>
                </a:solidFill>
                <a:latin typeface="+mn-lt"/>
                <a:ea typeface="+mn-ea"/>
                <a:cs typeface="+mn-cs"/>
              </a:rPr>
              <a:t>92. </a:t>
            </a:r>
            <a:r>
              <a:rPr lang="en-US" sz="1200" b="1" i="0" u="none" strike="noStrike" kern="1200" baseline="0" dirty="0">
                <a:solidFill>
                  <a:schemeClr val="tx1"/>
                </a:solidFill>
                <a:latin typeface="+mn-lt"/>
                <a:ea typeface="+mn-ea"/>
                <a:cs typeface="+mn-cs"/>
              </a:rPr>
              <a:t>Talk about 1:1 and 1:M relationships </a:t>
            </a:r>
            <a:r>
              <a:rPr lang="en-US" sz="1200" b="0" i="0" u="none" strike="noStrike" kern="1200" baseline="0" dirty="0">
                <a:solidFill>
                  <a:schemeClr val="tx1"/>
                </a:solidFill>
                <a:latin typeface="+mn-lt"/>
                <a:ea typeface="+mn-ea"/>
                <a:cs typeface="+mn-cs"/>
              </a:rPr>
              <a:t>that are supported by Power BI Desktop </a:t>
            </a:r>
          </a:p>
          <a:p>
            <a:r>
              <a:rPr lang="en-US" sz="1200" b="0" i="0" u="none" strike="noStrike" kern="1200" baseline="0" dirty="0">
                <a:solidFill>
                  <a:schemeClr val="tx1"/>
                </a:solidFill>
                <a:latin typeface="+mn-lt"/>
                <a:ea typeface="+mn-ea"/>
                <a:cs typeface="+mn-cs"/>
              </a:rPr>
              <a:t>93. Depending on the audience might want to talk about bi-direction relationship </a:t>
            </a:r>
          </a:p>
          <a:p>
            <a:r>
              <a:rPr lang="en-US" sz="1200" b="0" i="0" u="none" strike="noStrike" kern="1200" baseline="0" dirty="0">
                <a:solidFill>
                  <a:schemeClr val="tx1"/>
                </a:solidFill>
                <a:latin typeface="+mn-lt"/>
                <a:ea typeface="+mn-ea"/>
                <a:cs typeface="+mn-cs"/>
              </a:rPr>
              <a:t>94. Talk about </a:t>
            </a:r>
            <a:r>
              <a:rPr lang="en-US" sz="1200" b="1" i="0" u="none" strike="noStrike" kern="1200" baseline="0" dirty="0">
                <a:solidFill>
                  <a:schemeClr val="tx1"/>
                </a:solidFill>
                <a:latin typeface="+mn-lt"/>
                <a:ea typeface="+mn-ea"/>
                <a:cs typeface="+mn-cs"/>
              </a:rPr>
              <a:t>Synonyms</a:t>
            </a:r>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7063229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7684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95. Navigate back Reports section, </a:t>
            </a:r>
          </a:p>
          <a:p>
            <a:r>
              <a:rPr lang="en-US" sz="1200" b="0" i="0" u="none" strike="noStrike" kern="1200" baseline="0" dirty="0">
                <a:solidFill>
                  <a:schemeClr val="tx1"/>
                </a:solidFill>
                <a:latin typeface="+mn-lt"/>
                <a:ea typeface="+mn-ea"/>
                <a:cs typeface="+mn-cs"/>
              </a:rPr>
              <a:t>96. Talk about Fields and Visualization section </a:t>
            </a:r>
          </a:p>
          <a:p>
            <a:r>
              <a:rPr lang="en-US" sz="1200" b="0" i="0" u="none" strike="noStrike" kern="1200" baseline="0" dirty="0">
                <a:solidFill>
                  <a:schemeClr val="tx1"/>
                </a:solidFill>
                <a:latin typeface="+mn-lt"/>
                <a:ea typeface="+mn-ea"/>
                <a:cs typeface="+mn-cs"/>
              </a:rPr>
              <a:t>97. Talk about ability to Hide/Unhide fields and tables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96493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vigate to By </a:t>
            </a:r>
            <a:r>
              <a:rPr lang="en-US" sz="1200" b="1" i="0" u="none" strike="noStrike" kern="1200" baseline="0" dirty="0">
                <a:solidFill>
                  <a:schemeClr val="tx1"/>
                </a:solidFill>
                <a:latin typeface="+mn-lt"/>
                <a:ea typeface="+mn-ea"/>
                <a:cs typeface="+mn-cs"/>
              </a:rPr>
              <a:t>Manufacturer report page </a:t>
            </a:r>
          </a:p>
          <a:p>
            <a:r>
              <a:rPr lang="en-US" sz="1200" b="0" i="0" u="none" strike="noStrike" kern="1200" baseline="0" dirty="0">
                <a:solidFill>
                  <a:schemeClr val="tx1"/>
                </a:solidFill>
                <a:latin typeface="+mn-lt"/>
                <a:ea typeface="+mn-ea"/>
                <a:cs typeface="+mn-cs"/>
              </a:rPr>
              <a:t>Notice we already have a drill through by Country. </a:t>
            </a:r>
          </a:p>
          <a:p>
            <a:r>
              <a:rPr lang="en-US" sz="1200" b="0" i="0" u="none" strike="noStrike" kern="1200" baseline="0" dirty="0">
                <a:solidFill>
                  <a:schemeClr val="tx1"/>
                </a:solidFill>
                <a:latin typeface="+mn-lt"/>
                <a:ea typeface="+mn-ea"/>
                <a:cs typeface="+mn-cs"/>
              </a:rPr>
              <a:t>This is known as a drill through report, but we also want to drill through by Manufactu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3753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Simply drag the Manufacture field/column into drill through</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And </a:t>
            </a:r>
            <a:r>
              <a:rPr lang="en-US" sz="1200" b="1" i="0" u="none" strike="noStrike" kern="1200" baseline="0" dirty="0">
                <a:solidFill>
                  <a:schemeClr val="tx1"/>
                </a:solidFill>
                <a:latin typeface="+mn-lt"/>
                <a:ea typeface="+mn-ea"/>
                <a:cs typeface="+mn-cs"/>
              </a:rPr>
              <a:t>now we can drill through into this page</a:t>
            </a:r>
            <a:r>
              <a:rPr lang="en-US" sz="1200" b="0" i="0" u="none" strike="noStrike" kern="1200" baseline="0" dirty="0">
                <a:solidFill>
                  <a:schemeClr val="tx1"/>
                </a:solidFill>
                <a:latin typeface="+mn-lt"/>
                <a:ea typeface="+mn-ea"/>
                <a:cs typeface="+mn-cs"/>
              </a:rPr>
              <a:t> by Manufacture.</a:t>
            </a:r>
          </a:p>
          <a:p>
            <a:r>
              <a:rPr lang="en-US" sz="1200" b="1" i="0" u="none" strike="noStrike" kern="1200" baseline="0" dirty="0">
                <a:solidFill>
                  <a:schemeClr val="tx1"/>
                </a:solidFill>
                <a:latin typeface="+mn-lt"/>
                <a:ea typeface="+mn-ea"/>
                <a:cs typeface="+mn-cs"/>
              </a:rPr>
              <a:t>Do not apply any filters </a:t>
            </a:r>
            <a:r>
              <a:rPr lang="en-US" sz="1200" b="0" i="0" u="none" strike="noStrike" kern="1200" baseline="0" dirty="0">
                <a:solidFill>
                  <a:schemeClr val="tx1"/>
                </a:solidFill>
                <a:latin typeface="+mn-lt"/>
                <a:ea typeface="+mn-ea"/>
                <a:cs typeface="+mn-cs"/>
              </a:rPr>
              <a:t>for manufacture at this point.</a:t>
            </a:r>
          </a:p>
          <a:p>
            <a:r>
              <a:rPr lang="en-US" sz="1200" b="0" i="0" u="none" strike="noStrike" kern="1200" baseline="0" dirty="0">
                <a:solidFill>
                  <a:schemeClr val="tx1"/>
                </a:solidFill>
                <a:latin typeface="+mn-lt"/>
                <a:ea typeface="+mn-ea"/>
                <a:cs typeface="+mn-cs"/>
              </a:rPr>
              <a:t>Note also the </a:t>
            </a:r>
            <a:r>
              <a:rPr lang="en-US" sz="1200" b="1" i="0" u="none" strike="noStrike" kern="1200" baseline="0" dirty="0">
                <a:solidFill>
                  <a:schemeClr val="tx1"/>
                </a:solidFill>
                <a:latin typeface="+mn-lt"/>
                <a:ea typeface="+mn-ea"/>
                <a:cs typeface="+mn-cs"/>
              </a:rPr>
              <a:t>Card Display says Manufacture Analysis</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513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Card Display is not filtered at this point is for ALL manufactures.</a:t>
            </a:r>
          </a:p>
          <a:p>
            <a:r>
              <a:rPr lang="en-US" sz="1200" b="0" i="0" u="none" strike="noStrike" kern="1200" baseline="0" dirty="0">
                <a:solidFill>
                  <a:schemeClr val="tx1"/>
                </a:solidFill>
                <a:latin typeface="+mn-lt"/>
                <a:ea typeface="+mn-ea"/>
                <a:cs typeface="+mn-cs"/>
              </a:rPr>
              <a:t>We can go back to the Market Share page, right click a manufacture </a:t>
            </a:r>
          </a:p>
          <a:p>
            <a:r>
              <a:rPr lang="en-US" sz="1200" b="0" i="0" u="none" strike="noStrike" kern="1200" baseline="0" dirty="0">
                <a:solidFill>
                  <a:schemeClr val="tx1"/>
                </a:solidFill>
                <a:latin typeface="+mn-lt"/>
                <a:ea typeface="+mn-ea"/>
                <a:cs typeface="+mn-cs"/>
              </a:rPr>
              <a:t>and Pass-Through the value into this page.</a:t>
            </a:r>
          </a:p>
          <a:p>
            <a:r>
              <a:rPr lang="en-US" sz="1200" b="0" i="0" u="none" strike="noStrike" kern="1200" baseline="0" dirty="0">
                <a:solidFill>
                  <a:schemeClr val="tx1"/>
                </a:solidFill>
                <a:latin typeface="+mn-lt"/>
                <a:ea typeface="+mn-ea"/>
                <a:cs typeface="+mn-cs"/>
              </a:rPr>
              <a:t>Let’s go back to Market Share report page and see that in action.</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28103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in % Growth by Manufacturer column char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the best growth. Let’s investigate.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8923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ight click on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bar and select </a:t>
            </a:r>
            <a:r>
              <a:rPr lang="en-US" sz="1200" b="0" i="0" u="none" strike="noStrike" kern="1200" baseline="0" dirty="0" err="1">
                <a:solidFill>
                  <a:schemeClr val="tx1"/>
                </a:solidFill>
                <a:latin typeface="+mn-lt"/>
                <a:ea typeface="+mn-ea"/>
                <a:cs typeface="+mn-cs"/>
              </a:rPr>
              <a:t>Drillthrough</a:t>
            </a:r>
            <a:r>
              <a:rPr lang="en-US" sz="1200" b="0" i="0" u="none" strike="noStrike" kern="1200" baseline="0" dirty="0">
                <a:solidFill>
                  <a:schemeClr val="tx1"/>
                </a:solidFill>
                <a:latin typeface="+mn-lt"/>
                <a:ea typeface="+mn-ea"/>
                <a:cs typeface="+mn-cs"/>
              </a:rPr>
              <a:t> -&gt; By Manufacturer to be navigated to By Manufacturer pag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44605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Focus mo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185484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se icons show that there is a hierarchy of these 3 fields (Products -&gt; Segments -&gt; Category)</a:t>
            </a:r>
          </a:p>
          <a:p>
            <a:r>
              <a:rPr lang="en-US" sz="1200" b="0" i="0" u="none" strike="noStrike" kern="1200" baseline="0" dirty="0">
                <a:solidFill>
                  <a:schemeClr val="tx1"/>
                </a:solidFill>
                <a:latin typeface="+mn-lt"/>
                <a:ea typeface="+mn-ea"/>
                <a:cs typeface="+mn-cs"/>
              </a:rPr>
              <a:t>They also indicate whether we’ve drilled down or up on this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12397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New Page. Leave it as Page 1 for now.</a:t>
            </a:r>
          </a:p>
          <a:p>
            <a:r>
              <a:rPr lang="en-US" sz="1200" b="0" i="0" u="none" strike="noStrike" kern="1200" baseline="0" dirty="0">
                <a:solidFill>
                  <a:schemeClr val="tx1"/>
                </a:solidFill>
                <a:latin typeface="+mn-lt"/>
                <a:ea typeface="+mn-ea"/>
                <a:cs typeface="+mn-cs"/>
              </a:rPr>
              <a:t>From </a:t>
            </a:r>
            <a:r>
              <a:rPr lang="en-US" sz="1200" b="1" i="0" u="none" strike="noStrike" kern="1200" baseline="0" dirty="0">
                <a:solidFill>
                  <a:schemeClr val="tx1"/>
                </a:solidFill>
                <a:latin typeface="+mn-lt"/>
                <a:ea typeface="+mn-ea"/>
                <a:cs typeface="+mn-cs"/>
              </a:rPr>
              <a:t>By Manufacturer </a:t>
            </a:r>
            <a:r>
              <a:rPr lang="en-US" sz="1200" b="0" i="0" u="none" strike="noStrike" kern="1200" baseline="0" dirty="0">
                <a:solidFill>
                  <a:schemeClr val="tx1"/>
                </a:solidFill>
                <a:latin typeface="+mn-lt"/>
                <a:ea typeface="+mn-ea"/>
                <a:cs typeface="+mn-cs"/>
              </a:rPr>
              <a:t>page </a:t>
            </a:r>
            <a:r>
              <a:rPr lang="en-US" sz="1200" b="1" i="0" u="none" strike="noStrike" kern="1200" baseline="0" dirty="0">
                <a:solidFill>
                  <a:schemeClr val="tx1"/>
                </a:solidFill>
                <a:latin typeface="+mn-lt"/>
                <a:ea typeface="+mn-ea"/>
                <a:cs typeface="+mn-cs"/>
              </a:rPr>
              <a:t>copy the</a:t>
            </a:r>
            <a:r>
              <a:rPr lang="en-US" sz="1200" b="0" i="0" u="none" strike="noStrike" kern="1200" baseline="0" dirty="0">
                <a:solidFill>
                  <a:schemeClr val="tx1"/>
                </a:solidFill>
                <a:latin typeface="+mn-lt"/>
                <a:ea typeface="+mn-ea"/>
                <a:cs typeface="+mn-cs"/>
              </a:rPr>
              <a:t> Manufacturer </a:t>
            </a:r>
            <a:r>
              <a:rPr lang="en-US" sz="1200" b="1" i="0" u="none" strike="noStrike" kern="1200" baseline="0" dirty="0">
                <a:solidFill>
                  <a:schemeClr val="tx1"/>
                </a:solidFill>
                <a:latin typeface="+mn-lt"/>
                <a:ea typeface="+mn-ea"/>
                <a:cs typeface="+mn-cs"/>
              </a:rPr>
              <a:t>logo slicer</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019716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copy the logo slicer </a:t>
            </a:r>
            <a:r>
              <a:rPr lang="en-US" sz="1200" b="1" i="0" u="none" strike="noStrike" kern="1200" baseline="0" dirty="0">
                <a:solidFill>
                  <a:schemeClr val="tx1"/>
                </a:solidFill>
                <a:latin typeface="+mn-lt"/>
                <a:ea typeface="+mn-ea"/>
                <a:cs typeface="+mn-cs"/>
              </a:rPr>
              <a:t>Ctrl + click the arrow </a:t>
            </a:r>
            <a:r>
              <a:rPr lang="en-US" sz="1200" b="0" i="0" u="none" strike="noStrike" kern="1200" baseline="0" dirty="0">
                <a:solidFill>
                  <a:schemeClr val="tx1"/>
                </a:solidFill>
                <a:latin typeface="+mn-lt"/>
                <a:ea typeface="+mn-ea"/>
                <a:cs typeface="+mn-cs"/>
              </a:rPr>
              <a:t>to show the logos and click </a:t>
            </a:r>
            <a:r>
              <a:rPr lang="en-US" sz="1200" b="1" i="0" u="none" strike="noStrike" kern="1200" baseline="0" dirty="0">
                <a:solidFill>
                  <a:schemeClr val="tx1"/>
                </a:solidFill>
                <a:latin typeface="+mn-lt"/>
                <a:ea typeface="+mn-ea"/>
                <a:cs typeface="+mn-cs"/>
              </a:rPr>
              <a:t>Copy</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5643100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aste, and Sync the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31346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View, check Sync slicers, this will the Sync Slicer panel.</a:t>
            </a:r>
          </a:p>
          <a:p>
            <a:r>
              <a:rPr lang="en-US" sz="1200" b="0" i="0" u="none" strike="noStrike" kern="1200" baseline="0" dirty="0">
                <a:solidFill>
                  <a:schemeClr val="tx1"/>
                </a:solidFill>
                <a:latin typeface="+mn-lt"/>
                <a:ea typeface="+mn-ea"/>
                <a:cs typeface="+mn-cs"/>
              </a:rPr>
              <a:t>Meaning whatever we choose this visual will be synced back to the same visual slicer in the By Manufacture page.</a:t>
            </a:r>
          </a:p>
          <a:p>
            <a:r>
              <a:rPr lang="en-US" sz="1200" b="0" i="0" u="none" strike="noStrike" kern="1200" baseline="0" dirty="0">
                <a:solidFill>
                  <a:schemeClr val="tx1"/>
                </a:solidFill>
                <a:latin typeface="+mn-lt"/>
                <a:ea typeface="+mn-ea"/>
                <a:cs typeface="+mn-cs"/>
              </a:rPr>
              <a:t>Affects the assigned pages.</a:t>
            </a:r>
          </a:p>
          <a:p>
            <a:r>
              <a:rPr lang="en-US" sz="1200" b="0" i="0" u="none" strike="noStrike" kern="1200" baseline="0" dirty="0">
                <a:solidFill>
                  <a:schemeClr val="tx1"/>
                </a:solidFill>
                <a:latin typeface="+mn-lt"/>
                <a:ea typeface="+mn-ea"/>
                <a:cs typeface="+mn-cs"/>
              </a:rPr>
              <a:t>117. Filter by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588042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use the Q&amp;A feature by click </a:t>
            </a:r>
            <a:r>
              <a:rPr lang="en-US" sz="1200" b="1" i="0" u="none" strike="noStrike" kern="1200" baseline="0" dirty="0">
                <a:solidFill>
                  <a:schemeClr val="tx1"/>
                </a:solidFill>
                <a:latin typeface="+mn-lt"/>
                <a:ea typeface="+mn-ea"/>
                <a:cs typeface="+mn-cs"/>
              </a:rPr>
              <a:t>Ask A Question </a:t>
            </a:r>
            <a:r>
              <a:rPr lang="en-US" sz="1200" b="0" i="0" u="none" strike="noStrike" kern="1200" baseline="0" dirty="0">
                <a:solidFill>
                  <a:schemeClr val="tx1"/>
                </a:solidFill>
                <a:latin typeface="+mn-lt"/>
                <a:ea typeface="+mn-ea"/>
                <a:cs typeface="+mn-cs"/>
              </a:rPr>
              <a:t>or simply double click on the canva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78053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Enter % Growth by Country </a:t>
            </a:r>
          </a:p>
          <a:p>
            <a:r>
              <a:rPr lang="en-US" sz="1200" b="0" i="0" u="none" strike="noStrike" kern="1200" baseline="0" dirty="0">
                <a:solidFill>
                  <a:schemeClr val="tx1"/>
                </a:solidFill>
                <a:latin typeface="+mn-lt"/>
                <a:ea typeface="+mn-ea"/>
                <a:cs typeface="+mn-cs"/>
              </a:rPr>
              <a:t>Notice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s a </a:t>
            </a:r>
            <a:r>
              <a:rPr lang="en-US" sz="1200" b="1" i="0" u="none" strike="noStrike" kern="1200" baseline="0" dirty="0">
                <a:solidFill>
                  <a:schemeClr val="tx1"/>
                </a:solidFill>
                <a:latin typeface="+mn-lt"/>
                <a:ea typeface="+mn-ea"/>
                <a:cs typeface="+mn-cs"/>
              </a:rPr>
              <a:t>big presence in Mexico </a:t>
            </a:r>
          </a:p>
          <a:p>
            <a:r>
              <a:rPr lang="en-US" sz="1200" b="0" i="0" u="none" strike="noStrike" kern="1200" baseline="0" dirty="0">
                <a:solidFill>
                  <a:schemeClr val="tx1"/>
                </a:solidFill>
                <a:latin typeface="+mn-lt"/>
                <a:ea typeface="+mn-ea"/>
                <a:cs typeface="+mn-cs"/>
              </a:rPr>
              <a:t>Resize it to see the distribution better and lets add a slice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6161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Slicer and lets filter by Year.</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6293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s a </a:t>
            </a:r>
            <a:r>
              <a:rPr lang="en-US" sz="1200" b="1" i="0" u="none" strike="noStrike" kern="1200" baseline="0" dirty="0">
                <a:solidFill>
                  <a:schemeClr val="tx1"/>
                </a:solidFill>
                <a:latin typeface="+mn-lt"/>
                <a:ea typeface="+mn-ea"/>
                <a:cs typeface="+mn-cs"/>
              </a:rPr>
              <a:t>numeric rage </a:t>
            </a:r>
            <a:r>
              <a:rPr lang="en-US" sz="1200" b="0" i="0" u="none" strike="noStrike" kern="1200" baseline="0" dirty="0">
                <a:solidFill>
                  <a:schemeClr val="tx1"/>
                </a:solidFill>
                <a:latin typeface="+mn-lt"/>
                <a:ea typeface="+mn-ea"/>
                <a:cs typeface="+mn-cs"/>
              </a:rPr>
              <a:t>slicer, notice how it affects the other visual % Growth by Country on our page.</a:t>
            </a:r>
          </a:p>
          <a:p>
            <a:r>
              <a:rPr lang="en-US" sz="1200" b="0" i="0" u="none" strike="noStrike" kern="1200" baseline="0" dirty="0">
                <a:solidFill>
                  <a:schemeClr val="tx1"/>
                </a:solidFill>
                <a:latin typeface="+mn-lt"/>
                <a:ea typeface="+mn-ea"/>
                <a:cs typeface="+mn-cs"/>
              </a:rPr>
              <a:t>We can switch this to a drop down or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501382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to change the type of slicer and choose Dropdow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77641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ropdown is nice to save space on the canvas. </a:t>
            </a:r>
          </a:p>
          <a:p>
            <a:r>
              <a:rPr lang="en-US" sz="1200" b="0" i="0" u="none" strike="noStrike" kern="1200" baseline="0" dirty="0">
                <a:solidFill>
                  <a:schemeClr val="tx1"/>
                </a:solidFill>
                <a:latin typeface="+mn-lt"/>
                <a:ea typeface="+mn-ea"/>
                <a:cs typeface="+mn-cs"/>
              </a:rPr>
              <a:t>But a list can be made to look very interest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301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elect 2017 in the slicer.</a:t>
            </a:r>
          </a:p>
          <a:p>
            <a:r>
              <a:rPr lang="en-US" sz="1200" b="0" i="0" u="none" strike="noStrike" kern="1200" baseline="0" dirty="0">
                <a:solidFill>
                  <a:schemeClr val="tx1"/>
                </a:solidFill>
                <a:latin typeface="+mn-lt"/>
                <a:ea typeface="+mn-ea"/>
                <a:cs typeface="+mn-cs"/>
              </a:rPr>
              <a:t>Notice that </a:t>
            </a:r>
            <a:r>
              <a:rPr lang="en-US" sz="1200" b="0" i="0" u="none" strike="noStrike" kern="1200" baseline="0" dirty="0" err="1">
                <a:solidFill>
                  <a:schemeClr val="tx1"/>
                </a:solidFill>
                <a:latin typeface="+mn-lt"/>
                <a:ea typeface="+mn-ea"/>
                <a:cs typeface="+mn-cs"/>
              </a:rPr>
              <a:t>Currus</a:t>
            </a:r>
            <a:r>
              <a:rPr lang="en-US" sz="1200" b="0" i="0" u="none" strike="noStrike" kern="1200" baseline="0" dirty="0">
                <a:solidFill>
                  <a:schemeClr val="tx1"/>
                </a:solidFill>
                <a:latin typeface="+mn-lt"/>
                <a:ea typeface="+mn-ea"/>
                <a:cs typeface="+mn-cs"/>
              </a:rPr>
              <a:t> had a big impact in Nigeria in 2017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4961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Lets set the type of slicer to a lis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7339458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and change the Orientation from Vertical to Horizontal.</a:t>
            </a:r>
          </a:p>
          <a:p>
            <a:r>
              <a:rPr lang="en-US" sz="1200" b="0" i="0" u="none" strike="noStrike" kern="1200" baseline="0" dirty="0">
                <a:solidFill>
                  <a:schemeClr val="tx1"/>
                </a:solidFill>
                <a:latin typeface="+mn-lt"/>
                <a:ea typeface="+mn-ea"/>
                <a:cs typeface="+mn-cs"/>
              </a:rPr>
              <a:t>We get this look &amp; feel as if it was a </a:t>
            </a:r>
            <a:r>
              <a:rPr lang="en-US" sz="1200" b="1" i="0" u="none" strike="noStrike" kern="1200" baseline="0" dirty="0">
                <a:solidFill>
                  <a:schemeClr val="tx1"/>
                </a:solidFill>
                <a:latin typeface="+mn-lt"/>
                <a:ea typeface="+mn-ea"/>
                <a:cs typeface="+mn-cs"/>
              </a:rPr>
              <a:t>button</a:t>
            </a:r>
            <a:r>
              <a:rPr lang="en-US" sz="1200" b="0" i="0" u="none" strike="noStrike" kern="1200" baseline="0" dirty="0">
                <a:solidFill>
                  <a:schemeClr val="tx1"/>
                </a:solidFill>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861143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 I’ve resized it and lets change the color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967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t>
            </a:r>
            <a:r>
              <a:rPr lang="en-US" sz="1200" b="1" i="0" u="none" strike="noStrike" kern="1200" baseline="0" dirty="0">
                <a:solidFill>
                  <a:schemeClr val="tx1"/>
                </a:solidFill>
                <a:latin typeface="+mn-lt"/>
                <a:ea typeface="+mn-ea"/>
                <a:cs typeface="+mn-cs"/>
              </a:rPr>
              <a:t>Format</a:t>
            </a:r>
            <a:r>
              <a:rPr lang="en-US" sz="1200" b="0" i="0" u="none" strike="noStrike" kern="1200" baseline="0" dirty="0">
                <a:solidFill>
                  <a:schemeClr val="tx1"/>
                </a:solidFill>
                <a:latin typeface="+mn-lt"/>
                <a:ea typeface="+mn-ea"/>
                <a:cs typeface="+mn-cs"/>
              </a:rPr>
              <a:t>, under </a:t>
            </a:r>
            <a:r>
              <a:rPr lang="en-US" sz="1200" b="1" i="0" u="none" strike="noStrike" kern="1200" baseline="0" dirty="0">
                <a:solidFill>
                  <a:schemeClr val="tx1"/>
                </a:solidFill>
                <a:latin typeface="+mn-lt"/>
                <a:ea typeface="+mn-ea"/>
                <a:cs typeface="+mn-cs"/>
              </a:rPr>
              <a:t>Items</a:t>
            </a:r>
            <a:r>
              <a:rPr lang="en-US" sz="1200" b="0" i="0" u="none" strike="noStrike" kern="1200" baseline="0" dirty="0">
                <a:solidFill>
                  <a:schemeClr val="tx1"/>
                </a:solidFill>
                <a:latin typeface="+mn-lt"/>
                <a:ea typeface="+mn-ea"/>
                <a:cs typeface="+mn-cs"/>
              </a:rPr>
              <a:t>, change the </a:t>
            </a:r>
            <a:r>
              <a:rPr lang="en-US" sz="1200" b="1" i="0" u="none" strike="noStrike" kern="1200" baseline="0" dirty="0">
                <a:solidFill>
                  <a:schemeClr val="tx1"/>
                </a:solidFill>
                <a:latin typeface="+mn-lt"/>
                <a:ea typeface="+mn-ea"/>
                <a:cs typeface="+mn-cs"/>
              </a:rPr>
              <a:t>Font Color to white </a:t>
            </a:r>
            <a:r>
              <a:rPr lang="en-US" sz="1200" b="0" i="0" u="none" strike="noStrike" kern="1200" baseline="0" dirty="0">
                <a:solidFill>
                  <a:schemeClr val="tx1"/>
                </a:solidFill>
                <a:latin typeface="+mn-lt"/>
                <a:ea typeface="+mn-ea"/>
                <a:cs typeface="+mn-cs"/>
              </a:rPr>
              <a:t>to standout, and </a:t>
            </a:r>
            <a:r>
              <a:rPr lang="en-US" sz="1200" b="1" i="0" u="none" strike="noStrike" kern="1200" baseline="0" dirty="0">
                <a:solidFill>
                  <a:schemeClr val="tx1"/>
                </a:solidFill>
                <a:latin typeface="+mn-lt"/>
                <a:ea typeface="+mn-ea"/>
                <a:cs typeface="+mn-cs"/>
              </a:rPr>
              <a:t>Background</a:t>
            </a:r>
            <a:r>
              <a:rPr lang="en-US" sz="1200" b="0" i="0" u="none" strike="noStrike" kern="1200" baseline="0" dirty="0">
                <a:solidFill>
                  <a:schemeClr val="tx1"/>
                </a:solidFill>
                <a:latin typeface="+mn-lt"/>
                <a:ea typeface="+mn-ea"/>
                <a:cs typeface="+mn-cs"/>
              </a:rPr>
              <a:t> to </a:t>
            </a:r>
            <a:r>
              <a:rPr lang="en-US" sz="1200" b="1" i="0" u="none" strike="noStrike" kern="1200" baseline="0" dirty="0">
                <a:solidFill>
                  <a:schemeClr val="tx1"/>
                </a:solidFill>
                <a:latin typeface="+mn-lt"/>
                <a:ea typeface="+mn-ea"/>
                <a:cs typeface="+mn-cs"/>
              </a:rPr>
              <a:t>blue</a:t>
            </a:r>
            <a:r>
              <a:rPr lang="en-US" sz="1200" b="0" i="0" u="none" strike="noStrike" kern="1200" baseline="0" dirty="0">
                <a:solidFill>
                  <a:schemeClr val="tx1"/>
                </a:solidFill>
                <a:latin typeface="+mn-lt"/>
                <a:ea typeface="+mn-ea"/>
                <a:cs typeface="+mn-cs"/>
              </a:rPr>
              <a:t> as the other visu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61196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tice how Nigeria had negative growth in 2016.</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60076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reate a matrix visual with Product Hierarchy in Rows and Revenue and PY Revenue in Values section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2019 9:34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8338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6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3/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3/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3/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3/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3/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hyperlink" Target="https://github.com/hfleitas/gamechanger" TargetMode="External"/><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9.png"/></Relationships>
</file>

<file path=ppt/slides/_rels/slide100.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6.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6.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34.png"/><Relationship Id="rId7" Type="http://schemas.openxmlformats.org/officeDocument/2006/relationships/image" Target="../media/image6.png"/><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6.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6.png"/><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5.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7.png"/><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6.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39.png"/><Relationship Id="rId7" Type="http://schemas.openxmlformats.org/officeDocument/2006/relationships/image" Target="../media/image6.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6.png"/><Relationship Id="rId2" Type="http://schemas.openxmlformats.org/officeDocument/2006/relationships/notesSlide" Target="../notesSlides/notesSlide10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1.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0.png"/></Relationships>
</file>

<file path=ppt/slides/_rels/slide11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42.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6.png"/><Relationship Id="rId2" Type="http://schemas.openxmlformats.org/officeDocument/2006/relationships/notesSlide" Target="../notesSlides/notesSlide10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45.png"/><Relationship Id="rId7" Type="http://schemas.openxmlformats.org/officeDocument/2006/relationships/image" Target="../media/image6.png"/><Relationship Id="rId2" Type="http://schemas.openxmlformats.org/officeDocument/2006/relationships/notesSlide" Target="../notesSlides/notesSlide1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6.png"/><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6.png"/><Relationship Id="rId2" Type="http://schemas.openxmlformats.org/officeDocument/2006/relationships/notesSlide" Target="../notesSlides/notesSlide1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6.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6.png"/><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7.xml.rels><?xml version="1.0" encoding="UTF-8" standalone="yes"?>
<Relationships xmlns="http://schemas.openxmlformats.org/package/2006/relationships"><Relationship Id="rId3" Type="http://schemas.openxmlformats.org/officeDocument/2006/relationships/image" Target="../media/image149.png"/><Relationship Id="rId7" Type="http://schemas.openxmlformats.org/officeDocument/2006/relationships/image" Target="../media/image6.png"/><Relationship Id="rId2" Type="http://schemas.openxmlformats.org/officeDocument/2006/relationships/notesSlide" Target="../notesSlides/notesSlide11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50.png"/><Relationship Id="rId7" Type="http://schemas.openxmlformats.org/officeDocument/2006/relationships/image" Target="../media/image6.png"/><Relationship Id="rId2" Type="http://schemas.openxmlformats.org/officeDocument/2006/relationships/notesSlide" Target="../notesSlides/notesSlide11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19.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90.png"/><Relationship Id="rId7" Type="http://schemas.openxmlformats.org/officeDocument/2006/relationships/image" Target="../media/image27.png"/><Relationship Id="rId2" Type="http://schemas.openxmlformats.org/officeDocument/2006/relationships/notesSlide" Target="../notesSlides/notesSlide11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2.gif"/><Relationship Id="rId5" Type="http://schemas.openxmlformats.org/officeDocument/2006/relationships/hyperlink" Target="https://go.microsoft.com/fwlink/?LinkId=2083007&amp;clcid=0x409" TargetMode="External"/><Relationship Id="rId4" Type="http://schemas.openxmlformats.org/officeDocument/2006/relationships/image" Target="../media/image31.png"/><Relationship Id="rId9" Type="http://schemas.openxmlformats.org/officeDocument/2006/relationships/image" Target="../media/image6.png"/></Relationships>
</file>

<file path=ppt/slides/_rels/slide120.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6.png"/><Relationship Id="rId2" Type="http://schemas.openxmlformats.org/officeDocument/2006/relationships/notesSlide" Target="../notesSlides/notesSlide117.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21.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6.pn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6.pn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154.png"/><Relationship Id="rId7"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4.xml.rels><?xml version="1.0" encoding="UTF-8" standalone="yes"?>
<Relationships xmlns="http://schemas.openxmlformats.org/package/2006/relationships"><Relationship Id="rId3" Type="http://schemas.openxmlformats.org/officeDocument/2006/relationships/image" Target="../media/image155.png"/><Relationship Id="rId7" Type="http://schemas.openxmlformats.org/officeDocument/2006/relationships/image" Target="../media/image6.png"/><Relationship Id="rId2" Type="http://schemas.openxmlformats.org/officeDocument/2006/relationships/notesSlide" Target="../notesSlides/notesSlide1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6.png"/><Relationship Id="rId2" Type="http://schemas.openxmlformats.org/officeDocument/2006/relationships/notesSlide" Target="../notesSlides/notesSlide1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6.png"/><Relationship Id="rId2" Type="http://schemas.openxmlformats.org/officeDocument/2006/relationships/notesSlide" Target="../notesSlides/notesSlide1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6.png"/><Relationship Id="rId2" Type="http://schemas.openxmlformats.org/officeDocument/2006/relationships/notesSlide" Target="../notesSlides/notesSlide1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60.png"/><Relationship Id="rId7" Type="http://schemas.openxmlformats.org/officeDocument/2006/relationships/image" Target="../media/image6.png"/><Relationship Id="rId2" Type="http://schemas.openxmlformats.org/officeDocument/2006/relationships/notesSlide" Target="../notesSlides/notesSlide1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hyperlink" Target="https://www.gartner.com/doc/reprints?id=1-57IQ201&amp;ct=180717&amp;st=sb" TargetMode="External"/><Relationship Id="rId9" Type="http://schemas.openxmlformats.org/officeDocument/2006/relationships/image" Target="../media/image6.png"/></Relationships>
</file>

<file path=ppt/slides/_rels/slide130.xml.rels><?xml version="1.0" encoding="UTF-8" standalone="yes"?>
<Relationships xmlns="http://schemas.openxmlformats.org/package/2006/relationships"><Relationship Id="rId3" Type="http://schemas.openxmlformats.org/officeDocument/2006/relationships/image" Target="../media/image161.png"/><Relationship Id="rId7" Type="http://schemas.openxmlformats.org/officeDocument/2006/relationships/image" Target="../media/image6.png"/><Relationship Id="rId2" Type="http://schemas.openxmlformats.org/officeDocument/2006/relationships/notesSlide" Target="../notesSlides/notesSlide1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62.png"/><Relationship Id="rId7" Type="http://schemas.openxmlformats.org/officeDocument/2006/relationships/image" Target="../media/image6.png"/><Relationship Id="rId2" Type="http://schemas.openxmlformats.org/officeDocument/2006/relationships/notesSlide" Target="../notesSlides/notesSlide1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2.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63.png"/><Relationship Id="rId7" Type="http://schemas.openxmlformats.org/officeDocument/2006/relationships/image" Target="../media/image6.png"/><Relationship Id="rId2" Type="http://schemas.openxmlformats.org/officeDocument/2006/relationships/notesSlide" Target="../notesSlides/notesSlide1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5.png"/></Relationships>
</file>

<file path=ppt/slides/_rels/slide1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6.png"/><Relationship Id="rId7" Type="http://schemas.openxmlformats.org/officeDocument/2006/relationships/image" Target="../media/image5.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hyperlink" Target="https://community.powerbi.com/t5/Dashboard-in-a-Day/Dashboard-in-a-Day-Content/td-p/332900" TargetMode="External"/><Relationship Id="rId4" Type="http://schemas.openxmlformats.org/officeDocument/2006/relationships/image" Target="../media/image167.png"/></Relationships>
</file>

<file path=ppt/slides/_rels/slide134.xml.rels><?xml version="1.0" encoding="UTF-8" standalone="yes"?>
<Relationships xmlns="http://schemas.openxmlformats.org/package/2006/relationships"><Relationship Id="rId3" Type="http://schemas.openxmlformats.org/officeDocument/2006/relationships/image" Target="../media/image168.png"/><Relationship Id="rId7" Type="http://schemas.openxmlformats.org/officeDocument/2006/relationships/image" Target="../media/image6.png"/><Relationship Id="rId2" Type="http://schemas.openxmlformats.org/officeDocument/2006/relationships/notesSlide" Target="../notesSlides/notesSlide13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6.pn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136.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90.png"/><Relationship Id="rId7" Type="http://schemas.openxmlformats.org/officeDocument/2006/relationships/image" Target="../media/image27.pn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27.png"/><Relationship Id="rId7" Type="http://schemas.openxmlformats.org/officeDocument/2006/relationships/image" Target="../media/image171.png"/><Relationship Id="rId2" Type="http://schemas.openxmlformats.org/officeDocument/2006/relationships/notesSlide" Target="../notesSlides/notesSlide1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6.png"/><Relationship Id="rId2" Type="http://schemas.openxmlformats.org/officeDocument/2006/relationships/notesSlide" Target="../notesSlides/notesSlide135.xm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13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35.jpeg"/><Relationship Id="rId4" Type="http://schemas.openxmlformats.org/officeDocument/2006/relationships/image" Target="../media/image34.png"/></Relationships>
</file>

<file path=ppt/slides/_rels/slide14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38.xml"/><Relationship Id="rId1" Type="http://schemas.openxmlformats.org/officeDocument/2006/relationships/slideLayout" Target="../slideLayouts/slideLayout7.xml"/><Relationship Id="rId6" Type="http://schemas.openxmlformats.org/officeDocument/2006/relationships/image" Target="../media/image174.png"/><Relationship Id="rId5" Type="http://schemas.openxmlformats.org/officeDocument/2006/relationships/image" Target="../media/image6.png"/><Relationship Id="rId4" Type="http://schemas.openxmlformats.org/officeDocument/2006/relationships/image" Target="../media/image5.png"/></Relationships>
</file>

<file path=ppt/slides/_rels/slide142.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81.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powerbi.microsoft.com/" TargetMode="External"/><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6.png"/></Relationships>
</file>

<file path=ppt/slides/_rels/slide150.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4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27.png"/><Relationship Id="rId7" Type="http://schemas.openxmlformats.org/officeDocument/2006/relationships/image" Target="../media/image6.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10" Type="http://schemas.openxmlformats.org/officeDocument/2006/relationships/image" Target="../media/image188.png"/><Relationship Id="rId4" Type="http://schemas.openxmlformats.org/officeDocument/2006/relationships/image" Target="../media/image91.png"/><Relationship Id="rId9" Type="http://schemas.openxmlformats.org/officeDocument/2006/relationships/image" Target="../media/image94.png"/></Relationships>
</file>

<file path=ppt/slides/_rels/slide15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7.png"/><Relationship Id="rId7" Type="http://schemas.openxmlformats.org/officeDocument/2006/relationships/image" Target="../media/image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90.png"/><Relationship Id="rId10" Type="http://schemas.openxmlformats.org/officeDocument/2006/relationships/image" Target="../media/image94.png"/><Relationship Id="rId4" Type="http://schemas.openxmlformats.org/officeDocument/2006/relationships/image" Target="../media/image91.png"/><Relationship Id="rId9" Type="http://schemas.openxmlformats.org/officeDocument/2006/relationships/image" Target="../media/image187.png"/></Relationships>
</file>

<file path=ppt/slides/_rels/slide15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92.png"/><Relationship Id="rId7" Type="http://schemas.openxmlformats.org/officeDocument/2006/relationships/image" Target="../media/image6.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 Id="rId9" Type="http://schemas.openxmlformats.org/officeDocument/2006/relationships/image" Target="../media/image165.png"/></Relationships>
</file>

<file path=ppt/slides/_rels/slide15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13.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image" Target="../media/image40.png"/><Relationship Id="rId11" Type="http://schemas.openxmlformats.org/officeDocument/2006/relationships/image" Target="../media/image45.jpeg"/><Relationship Id="rId5" Type="http://schemas.openxmlformats.org/officeDocument/2006/relationships/image" Target="../media/image39.gif"/><Relationship Id="rId15" Type="http://schemas.openxmlformats.org/officeDocument/2006/relationships/image" Target="../media/image5.png"/><Relationship Id="rId10" Type="http://schemas.openxmlformats.org/officeDocument/2006/relationships/image" Target="../media/image44.jpe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hyperlink" Target="http://fleitasarts.com/" TargetMode="External"/></Relationships>
</file>

<file path=ppt/slides/_rels/slide16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4.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7.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8.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90.png"/><Relationship Id="rId7" Type="http://schemas.openxmlformats.org/officeDocument/2006/relationships/image" Target="../media/image27.png"/><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9.xml.rels><?xml version="1.0" encoding="UTF-8" standalone="yes"?>
<Relationships xmlns="http://schemas.openxmlformats.org/package/2006/relationships"><Relationship Id="rId3" Type="http://schemas.openxmlformats.org/officeDocument/2006/relationships/image" Target="../media/image203.png"/><Relationship Id="rId7" Type="http://schemas.openxmlformats.org/officeDocument/2006/relationships/image" Target="../media/image6.png"/><Relationship Id="rId2" Type="http://schemas.openxmlformats.org/officeDocument/2006/relationships/notesSlide" Target="../notesSlides/notesSlide166.xml"/><Relationship Id="rId1" Type="http://schemas.openxmlformats.org/officeDocument/2006/relationships/slideLayout" Target="../slideLayouts/slideLayout51.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8.png"/><Relationship Id="rId7"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50.png"/><Relationship Id="rId4" Type="http://schemas.openxmlformats.org/officeDocument/2006/relationships/image" Target="../media/image49.png"/></Relationships>
</file>

<file path=ppt/slides/_rels/slide17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04.png"/><Relationship Id="rId7" Type="http://schemas.openxmlformats.org/officeDocument/2006/relationships/image" Target="../media/image5.png"/><Relationship Id="rId2" Type="http://schemas.openxmlformats.org/officeDocument/2006/relationships/notesSlide" Target="../notesSlides/notesSlide167.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8.wdp"/></Relationships>
</file>

<file path=ppt/slides/_rels/slide171.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90.png"/><Relationship Id="rId7" Type="http://schemas.openxmlformats.org/officeDocument/2006/relationships/image" Target="../media/image27.pn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72.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5.png"/><Relationship Id="rId7" Type="http://schemas.openxmlformats.org/officeDocument/2006/relationships/image" Target="../media/image6.png"/><Relationship Id="rId2" Type="http://schemas.openxmlformats.org/officeDocument/2006/relationships/notesSlide" Target="../notesSlides/notesSlide169.xml"/><Relationship Id="rId1" Type="http://schemas.openxmlformats.org/officeDocument/2006/relationships/slideLayout" Target="../slideLayouts/slideLayout38.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8.wdp"/><Relationship Id="rId9" Type="http://schemas.microsoft.com/office/2007/relationships/hdphoto" Target="../media/hdphoto9.wdp"/></Relationships>
</file>

<file path=ppt/slides/_rels/slide173.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hyperlink" Target="https://github.com/hfleitas" TargetMode="External"/><Relationship Id="rId3" Type="http://schemas.openxmlformats.org/officeDocument/2006/relationships/image" Target="../media/image204.png"/><Relationship Id="rId7" Type="http://schemas.openxmlformats.org/officeDocument/2006/relationships/hyperlink" Target="http://fleitasarts.com/" TargetMode="External"/><Relationship Id="rId12" Type="http://schemas.openxmlformats.org/officeDocument/2006/relationships/image" Target="../media/image208.png"/><Relationship Id="rId17" Type="http://schemas.openxmlformats.org/officeDocument/2006/relationships/image" Target="../media/image6.png"/><Relationship Id="rId2" Type="http://schemas.openxmlformats.org/officeDocument/2006/relationships/notesSlide" Target="../notesSlides/notesSlide170.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9.wdp"/><Relationship Id="rId10" Type="http://schemas.openxmlformats.org/officeDocument/2006/relationships/hyperlink" Target="http://facebook.com/hiramfleitas" TargetMode="External"/><Relationship Id="rId4" Type="http://schemas.microsoft.com/office/2007/relationships/hdphoto" Target="../media/hdphoto8.wdp"/><Relationship Id="rId9" Type="http://schemas.microsoft.com/office/2007/relationships/hdphoto" Target="../media/hdphoto10.wdp"/><Relationship Id="rId14" Type="http://schemas.openxmlformats.org/officeDocument/2006/relationships/image" Target="../media/image206.png"/></Relationships>
</file>

<file path=ppt/slides/_rels/slide174.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7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1.jpeg"/><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2.jpeg"/></Relationships>
</file>

<file path=ppt/slides/_rels/slide2.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37.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3.jpeg"/></Relationships>
</file>

<file path=ppt/slides/_rels/slide2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4.jpeg"/></Relationships>
</file>

<file path=ppt/slides/_rels/slide2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5.jpeg"/></Relationships>
</file>

<file path=ppt/slides/_rels/slide2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56.jpe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71.png"/><Relationship Id="rId7"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73.svg"/><Relationship Id="rId4" Type="http://schemas.openxmlformats.org/officeDocument/2006/relationships/image" Target="../media/image72.png"/></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77.png"/><Relationship Id="rId7"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6.png"/><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12"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3.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png"/><Relationship Id="rId2" Type="http://schemas.openxmlformats.org/officeDocument/2006/relationships/notesSlide" Target="../notesSlides/notesSlide51.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5.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6.png"/><Relationship Id="rId2" Type="http://schemas.openxmlformats.org/officeDocument/2006/relationships/notesSlide" Target="../notesSlides/notesSlide52.xml"/><Relationship Id="rId1" Type="http://schemas.openxmlformats.org/officeDocument/2006/relationships/slideLayout" Target="../slideLayouts/slideLayout39.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5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7.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png"/><Relationship Id="rId2" Type="http://schemas.openxmlformats.org/officeDocument/2006/relationships/notesSlide" Target="../notesSlides/notesSlide54.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58.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7.sv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6.png"/><Relationship Id="rId4" Type="http://schemas.openxmlformats.org/officeDocument/2006/relationships/image" Target="../media/image5.png"/></Relationships>
</file>

<file path=ppt/slides/_rels/slide59.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89.sv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88.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3.pn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60.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png"/><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61.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62.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90.png"/><Relationship Id="rId7" Type="http://schemas.openxmlformats.org/officeDocument/2006/relationships/image" Target="../media/image27.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93.png"/><Relationship Id="rId4" Type="http://schemas.openxmlformats.org/officeDocument/2006/relationships/hyperlink" Target="http://fleitasarts.com/" TargetMode="External"/><Relationship Id="rId9" Type="http://schemas.openxmlformats.org/officeDocument/2006/relationships/image" Target="../media/image92.png"/></Relationships>
</file>

<file path=ppt/slides/_rels/slide6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27.png"/><Relationship Id="rId7" Type="http://schemas.openxmlformats.org/officeDocument/2006/relationships/image" Target="../media/image91.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 Id="rId9" Type="http://schemas.openxmlformats.org/officeDocument/2006/relationships/image" Target="../media/image94.png"/></Relationships>
</file>

<file path=ppt/slides/_rels/slide6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5.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27.png"/><Relationship Id="rId7" Type="http://schemas.openxmlformats.org/officeDocument/2006/relationships/image" Target="../media/image6.png"/><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96.png"/><Relationship Id="rId9" Type="http://schemas.openxmlformats.org/officeDocument/2006/relationships/image" Target="../media/image94.png"/></Relationships>
</file>

<file path=ppt/slides/_rels/slide66.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6.png"/><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94.png"/><Relationship Id="rId5" Type="http://schemas.openxmlformats.org/officeDocument/2006/relationships/hyperlink" Target="http://fleitasarts.com/" TargetMode="External"/><Relationship Id="rId10" Type="http://schemas.openxmlformats.org/officeDocument/2006/relationships/image" Target="../media/image91.png"/><Relationship Id="rId4" Type="http://schemas.openxmlformats.org/officeDocument/2006/relationships/image" Target="../media/image27.png"/><Relationship Id="rId9" Type="http://schemas.openxmlformats.org/officeDocument/2006/relationships/image" Target="../media/image98.png"/></Relationships>
</file>

<file path=ppt/slides/_rels/slide6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5.png"/><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0.png"/><Relationship Id="rId4" Type="http://schemas.openxmlformats.org/officeDocument/2006/relationships/image" Target="../media/image99.png"/></Relationships>
</file>

<file path=ppt/slides/_rels/slide6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6.png"/><Relationship Id="rId12" Type="http://schemas.openxmlformats.org/officeDocument/2006/relationships/image" Target="../media/image18.png"/><Relationship Id="rId2" Type="http://schemas.openxmlformats.org/officeDocument/2006/relationships/notesSlide" Target="../notesSlides/notesSlide4.xml"/><Relationship Id="rId16"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5.png"/><Relationship Id="rId11" Type="http://schemas.openxmlformats.org/officeDocument/2006/relationships/image" Target="../media/image17.png"/><Relationship Id="rId5" Type="http://schemas.openxmlformats.org/officeDocument/2006/relationships/hyperlink" Target="http://fleitasarts.com/" TargetMode="External"/><Relationship Id="rId15" Type="http://schemas.openxmlformats.org/officeDocument/2006/relationships/image" Target="../media/image21.png"/><Relationship Id="rId10" Type="http://schemas.openxmlformats.org/officeDocument/2006/relationships/image" Target="../media/image16.png"/><Relationship Id="rId4" Type="http://schemas.microsoft.com/office/2007/relationships/hdphoto" Target="../media/hdphoto4.wdp"/><Relationship Id="rId9" Type="http://schemas.openxmlformats.org/officeDocument/2006/relationships/image" Target="../media/image15.png"/><Relationship Id="rId14" Type="http://schemas.openxmlformats.org/officeDocument/2006/relationships/image" Target="../media/image20.png"/></Relationships>
</file>

<file path=ppt/slides/_rels/slide7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3.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4.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05.png"/><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106.png"/><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6.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7.png"/></Relationships>
</file>

<file path=ppt/slides/_rels/slide7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6.png"/><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3.png"/><Relationship Id="rId7" Type="http://schemas.openxmlformats.org/officeDocument/2006/relationships/hyperlink" Target="http://fleitasarts.com/"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4.svg"/><Relationship Id="rId5" Type="http://schemas.openxmlformats.org/officeDocument/2006/relationships/image" Target="../media/image23.png"/><Relationship Id="rId4" Type="http://schemas.microsoft.com/office/2007/relationships/hdphoto" Target="../media/hdphoto3.wdp"/><Relationship Id="rId9" Type="http://schemas.openxmlformats.org/officeDocument/2006/relationships/image" Target="../media/image6.png"/></Relationships>
</file>

<file path=ppt/slides/_rels/slide80.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6.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6.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4.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15.png"/><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6.png"/><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6.png"/><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6.png"/><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6.png"/><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6.png"/><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6.png"/><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7.png"/><Relationship Id="rId10" Type="http://schemas.openxmlformats.org/officeDocument/2006/relationships/image" Target="../media/image6.png"/><Relationship Id="rId4" Type="http://schemas.openxmlformats.org/officeDocument/2006/relationships/image" Target="../media/image26.png"/><Relationship Id="rId9"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6.png"/><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6.png"/><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6.png"/><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6.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6.png"/><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6.png"/><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6.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6.png"/><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6.png"/><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7" Type="http://schemas.openxmlformats.org/officeDocument/2006/relationships/image" Target="../media/image131.png"/><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C881610D-9F53-4D15-AAB9-993E0EEF18A9}"/>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4"/>
              <a:extLst>
                <a:ext uri="{FF2B5EF4-FFF2-40B4-BE49-F238E27FC236}">
                  <a16:creationId xmlns:a16="http://schemas.microsoft.com/office/drawing/2014/main" id="{4AAD82EC-417D-4F28-A0F0-70A1369348B9}"/>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29" name="Picture 28">
              <a:hlinkClick r:id="rId4"/>
              <a:extLst>
                <a:ext uri="{FF2B5EF4-FFF2-40B4-BE49-F238E27FC236}">
                  <a16:creationId xmlns:a16="http://schemas.microsoft.com/office/drawing/2014/main" id="{99BDE764-AD57-415A-B42F-7E856F2EB852}"/>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7"/>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 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grpSp>
        <p:nvGrpSpPr>
          <p:cNvPr id="14" name="Group 13">
            <a:extLst>
              <a:ext uri="{FF2B5EF4-FFF2-40B4-BE49-F238E27FC236}">
                <a16:creationId xmlns:a16="http://schemas.microsoft.com/office/drawing/2014/main" id="{FAE6AC35-D83F-445B-A487-711F76D08DE0}"/>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B91DA74B-6567-476F-8D4E-A90749F55F1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6479732C-73F2-4F0C-8497-E7D7755CAF4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05428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95F527-3D9F-403C-9899-B16A836EA29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572C370-6099-423F-8D5F-4EB2192981AD}"/>
              </a:ext>
            </a:extLst>
          </p:cNvPr>
          <p:cNvSpPr/>
          <p:nvPr/>
        </p:nvSpPr>
        <p:spPr>
          <a:xfrm>
            <a:off x="9638506" y="2395538"/>
            <a:ext cx="1259138" cy="333374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8141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F6D361-395E-4009-AD28-1B7F6FADFCB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7A9BDED-ECFD-4D53-9AF2-2278BF1A3A47}"/>
              </a:ext>
            </a:extLst>
          </p:cNvPr>
          <p:cNvSpPr/>
          <p:nvPr/>
        </p:nvSpPr>
        <p:spPr>
          <a:xfrm>
            <a:off x="423862" y="5172401"/>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933122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3F62DD-D10B-4FD2-9B51-AE4BE05710F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DE469586-8F46-4D05-939F-A77702968F67}"/>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73F40131-EDFC-4A6B-ADAA-D3C602BF8C73}"/>
              </a:ext>
            </a:extLst>
          </p:cNvPr>
          <p:cNvCxnSpPr>
            <a:cxnSpLocks/>
          </p:cNvCxnSpPr>
          <p:nvPr/>
        </p:nvCxnSpPr>
        <p:spPr>
          <a:xfrm flipH="1">
            <a:off x="7200900" y="2217107"/>
            <a:ext cx="3070442" cy="121189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138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681A6A-96B9-490E-86C0-D3358D3AF5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9DC4BF5-35A9-42C2-9C00-31A358B5D386}"/>
              </a:ext>
            </a:extLst>
          </p:cNvPr>
          <p:cNvSpPr/>
          <p:nvPr/>
        </p:nvSpPr>
        <p:spPr>
          <a:xfrm>
            <a:off x="10906126" y="2514599"/>
            <a:ext cx="1216024" cy="22669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721156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A8F5DF-6FF2-48F2-9F67-33A1E03FE6B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74F04C0-133B-4AF6-A0DF-ADE0D8F66340}"/>
              </a:ext>
            </a:extLst>
          </p:cNvPr>
          <p:cNvSpPr/>
          <p:nvPr/>
        </p:nvSpPr>
        <p:spPr>
          <a:xfrm>
            <a:off x="10906126" y="2671762"/>
            <a:ext cx="1216024" cy="3667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A69EB00-FC96-46DA-86CF-ADA50D03AFD5}"/>
              </a:ext>
            </a:extLst>
          </p:cNvPr>
          <p:cNvSpPr/>
          <p:nvPr/>
        </p:nvSpPr>
        <p:spPr>
          <a:xfrm>
            <a:off x="10560844" y="4162425"/>
            <a:ext cx="209550" cy="20240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600095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B621B8AD-2224-4321-BECA-69E0EFAA55E7}"/>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44C823D2-31FC-4888-BA89-3CDF1221A6A8}"/>
              </a:ext>
            </a:extLst>
          </p:cNvPr>
          <p:cNvSpPr/>
          <p:nvPr/>
        </p:nvSpPr>
        <p:spPr>
          <a:xfrm>
            <a:off x="9242426" y="2170112"/>
            <a:ext cx="2613024"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12588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BA0F1F-F1D9-4E45-9366-FBA0C5FB501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740F1D-1249-4545-B40F-2E3C90573875}"/>
              </a:ext>
            </a:extLst>
          </p:cNvPr>
          <p:cNvSpPr/>
          <p:nvPr/>
        </p:nvSpPr>
        <p:spPr>
          <a:xfrm>
            <a:off x="2826001" y="3488031"/>
            <a:ext cx="645862"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BF579E7-D3FF-4764-8CEF-B048E83E439B}"/>
              </a:ext>
            </a:extLst>
          </p:cNvPr>
          <p:cNvSpPr/>
          <p:nvPr/>
        </p:nvSpPr>
        <p:spPr>
          <a:xfrm>
            <a:off x="2820335" y="2066901"/>
            <a:ext cx="2060324" cy="53913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7CCEB59A-5011-4681-95B3-AE4657031B91}"/>
              </a:ext>
            </a:extLst>
          </p:cNvPr>
          <p:cNvCxnSpPr>
            <a:cxnSpLocks/>
            <a:stCxn id="13" idx="0"/>
          </p:cNvCxnSpPr>
          <p:nvPr/>
        </p:nvCxnSpPr>
        <p:spPr>
          <a:xfrm flipV="1">
            <a:off x="3148932" y="2809875"/>
            <a:ext cx="1880268" cy="67815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6CA0D75-29F3-4D1F-8542-7D631A19F0C8}"/>
              </a:ext>
            </a:extLst>
          </p:cNvPr>
          <p:cNvSpPr/>
          <p:nvPr/>
        </p:nvSpPr>
        <p:spPr>
          <a:xfrm>
            <a:off x="8207374" y="5519736"/>
            <a:ext cx="393701" cy="2254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780136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AC621-90C9-4F0B-A862-E39E2371AC0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27CC4F5-77D3-42DA-978C-D6B70D878B82}"/>
              </a:ext>
            </a:extLst>
          </p:cNvPr>
          <p:cNvSpPr/>
          <p:nvPr/>
        </p:nvSpPr>
        <p:spPr>
          <a:xfrm>
            <a:off x="9632514" y="3695284"/>
            <a:ext cx="1223059" cy="75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28590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346867-0F20-42FB-8495-BC5D6E851F5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CD151E9-B86B-4605-B25D-83759F1DF418}"/>
              </a:ext>
            </a:extLst>
          </p:cNvPr>
          <p:cNvSpPr/>
          <p:nvPr/>
        </p:nvSpPr>
        <p:spPr>
          <a:xfrm>
            <a:off x="8093900" y="2619375"/>
            <a:ext cx="1223059" cy="381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13A0330-0000-4DD9-9C80-F5BF5CD0DB51}"/>
              </a:ext>
            </a:extLst>
          </p:cNvPr>
          <p:cNvSpPr/>
          <p:nvPr/>
        </p:nvSpPr>
        <p:spPr>
          <a:xfrm>
            <a:off x="467637" y="3429000"/>
            <a:ext cx="4218663" cy="317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A9FF778C-67DD-4BB6-A8F4-3B41FD3AA660}"/>
              </a:ext>
            </a:extLst>
          </p:cNvPr>
          <p:cNvSpPr/>
          <p:nvPr/>
        </p:nvSpPr>
        <p:spPr>
          <a:xfrm>
            <a:off x="4965700" y="3746499"/>
            <a:ext cx="1987550"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329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42DBCFB-66C3-46AB-A29C-DD962A0F9B05}"/>
              </a:ext>
            </a:extLst>
          </p:cNvPr>
          <p:cNvPicPr>
            <a:picLocks noChangeAspect="1"/>
          </p:cNvPicPr>
          <p:nvPr/>
        </p:nvPicPr>
        <p:blipFill>
          <a:blip r:embed="rId7"/>
          <a:stretch>
            <a:fillRect/>
          </a:stretch>
        </p:blipFill>
        <p:spPr>
          <a:xfrm>
            <a:off x="2741" y="0"/>
            <a:ext cx="12186518" cy="6858000"/>
          </a:xfrm>
          <a:prstGeom prst="rect">
            <a:avLst/>
          </a:prstGeom>
        </p:spPr>
      </p:pic>
      <p:sp>
        <p:nvSpPr>
          <p:cNvPr id="14" name="Rectangle 13">
            <a:extLst>
              <a:ext uri="{FF2B5EF4-FFF2-40B4-BE49-F238E27FC236}">
                <a16:creationId xmlns:a16="http://schemas.microsoft.com/office/drawing/2014/main" id="{0A049009-17EE-477F-93A9-385D2A3EB236}"/>
              </a:ext>
            </a:extLst>
          </p:cNvPr>
          <p:cNvSpPr/>
          <p:nvPr/>
        </p:nvSpPr>
        <p:spPr>
          <a:xfrm>
            <a:off x="4918074" y="4384674"/>
            <a:ext cx="2378075" cy="35639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641452D-DBAE-44B2-BCED-3DEEE07F05B4}"/>
              </a:ext>
            </a:extLst>
          </p:cNvPr>
          <p:cNvSpPr/>
          <p:nvPr/>
        </p:nvSpPr>
        <p:spPr>
          <a:xfrm>
            <a:off x="5251449"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77816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91FA237-6D23-43E1-B428-4BEFA3B8E1DE}"/>
              </a:ext>
            </a:extLst>
          </p:cNvPr>
          <p:cNvGrpSpPr/>
          <p:nvPr/>
        </p:nvGrpSpPr>
        <p:grpSpPr>
          <a:xfrm>
            <a:off x="11290646" y="6569923"/>
            <a:ext cx="831504" cy="252506"/>
            <a:chOff x="668108" y="601336"/>
            <a:chExt cx="3665655" cy="1113164"/>
          </a:xfrm>
          <a:solidFill>
            <a:sysClr val="window" lastClr="FFFFFF"/>
          </a:solidFill>
        </p:grpSpPr>
        <p:pic>
          <p:nvPicPr>
            <p:cNvPr id="15" name="Picture 14">
              <a:hlinkClick r:id="rId5"/>
              <a:extLst>
                <a:ext uri="{FF2B5EF4-FFF2-40B4-BE49-F238E27FC236}">
                  <a16:creationId xmlns:a16="http://schemas.microsoft.com/office/drawing/2014/main" id="{09D49617-215E-4482-838D-E5D1C59C9A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6" name="Picture 15">
              <a:hlinkClick r:id="rId5"/>
              <a:extLst>
                <a:ext uri="{FF2B5EF4-FFF2-40B4-BE49-F238E27FC236}">
                  <a16:creationId xmlns:a16="http://schemas.microsoft.com/office/drawing/2014/main" id="{495A7FA4-A1A0-45EA-8BCD-8A1EE27B3E7D}"/>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682983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9C305EB5-F882-4CAC-9CA0-9AA0C11C489F}"/>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3" name="Straight Arrow Connector 12">
            <a:extLst>
              <a:ext uri="{FF2B5EF4-FFF2-40B4-BE49-F238E27FC236}">
                <a16:creationId xmlns:a16="http://schemas.microsoft.com/office/drawing/2014/main" id="{310F8BCD-DB4B-42E3-8B91-A43CF97C80E2}"/>
              </a:ext>
            </a:extLst>
          </p:cNvPr>
          <p:cNvCxnSpPr>
            <a:cxnSpLocks/>
          </p:cNvCxnSpPr>
          <p:nvPr/>
        </p:nvCxnSpPr>
        <p:spPr>
          <a:xfrm flipH="1">
            <a:off x="7383780" y="1869281"/>
            <a:ext cx="2512695" cy="1712119"/>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25175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13B5DF-A4CE-4CF8-BE88-3F835B610F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980573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259F45-EE8F-40E9-908A-B69D4C0EDC1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3574902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790302-C370-4A73-A1DD-B80973202176}"/>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4479996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32549-92E7-4840-85A3-39102550FE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9ADF422-37F7-48B1-A2E6-299F9DEB578B}"/>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138898B-C11A-42E4-BFFE-C71C655BC557}"/>
              </a:ext>
            </a:extLst>
          </p:cNvPr>
          <p:cNvSpPr/>
          <p:nvPr/>
        </p:nvSpPr>
        <p:spPr>
          <a:xfrm>
            <a:off x="9277349" y="3595687"/>
            <a:ext cx="1533525" cy="24765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18837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E1E780-C448-4004-8C93-EA5C4746DD0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ED49099-4560-4A7D-9327-27FAE8ADAADF}"/>
              </a:ext>
            </a:extLst>
          </p:cNvPr>
          <p:cNvSpPr/>
          <p:nvPr/>
        </p:nvSpPr>
        <p:spPr>
          <a:xfrm>
            <a:off x="3036660" y="3542846"/>
            <a:ext cx="998311" cy="4050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61859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0CE7C-AA98-4771-9EE9-C8CC8F7DFED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9D2ACA0-705E-48AB-BBAC-D3D322237A78}"/>
              </a:ext>
            </a:extLst>
          </p:cNvPr>
          <p:cNvSpPr/>
          <p:nvPr/>
        </p:nvSpPr>
        <p:spPr>
          <a:xfrm>
            <a:off x="9147174" y="2962275"/>
            <a:ext cx="311151" cy="27804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77299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FC0BD8-692A-4199-8CE6-9845F29CB6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B8095A-47A5-4FEF-A0C5-B1F00F042113}"/>
              </a:ext>
            </a:extLst>
          </p:cNvPr>
          <p:cNvSpPr/>
          <p:nvPr/>
        </p:nvSpPr>
        <p:spPr>
          <a:xfrm>
            <a:off x="8508206" y="3289979"/>
            <a:ext cx="515144" cy="2406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a:extLst>
              <a:ext uri="{FF2B5EF4-FFF2-40B4-BE49-F238E27FC236}">
                <a16:creationId xmlns:a16="http://schemas.microsoft.com/office/drawing/2014/main" id="{862B9EB1-09FB-4D89-BE5B-6FD6788197FE}"/>
              </a:ext>
            </a:extLst>
          </p:cNvPr>
          <p:cNvSpPr/>
          <p:nvPr/>
        </p:nvSpPr>
        <p:spPr>
          <a:xfrm>
            <a:off x="8070056" y="4699000"/>
            <a:ext cx="876300" cy="806705"/>
          </a:xfrm>
          <a:prstGeom prst="ellipse">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6BD50A1-57B4-434F-9F6C-6E4372CAD71B}"/>
              </a:ext>
            </a:extLst>
          </p:cNvPr>
          <p:cNvSpPr/>
          <p:nvPr/>
        </p:nvSpPr>
        <p:spPr>
          <a:xfrm>
            <a:off x="488155" y="3429000"/>
            <a:ext cx="2588419"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42840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3B712C-190E-47C6-A7BF-0F9DC90A3B4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5" name="Rectangle 14">
            <a:extLst>
              <a:ext uri="{FF2B5EF4-FFF2-40B4-BE49-F238E27FC236}">
                <a16:creationId xmlns:a16="http://schemas.microsoft.com/office/drawing/2014/main" id="{5A958EC5-EFE5-4EEC-B5BD-5DF781BBC3AB}"/>
              </a:ext>
            </a:extLst>
          </p:cNvPr>
          <p:cNvSpPr/>
          <p:nvPr/>
        </p:nvSpPr>
        <p:spPr>
          <a:xfrm>
            <a:off x="2990850" y="3000375"/>
            <a:ext cx="219075" cy="21431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0A6D81BE-5093-4457-902A-B56C9F2C4A9F}"/>
              </a:ext>
            </a:extLst>
          </p:cNvPr>
          <p:cNvSpPr/>
          <p:nvPr/>
        </p:nvSpPr>
        <p:spPr>
          <a:xfrm>
            <a:off x="2598736" y="3429000"/>
            <a:ext cx="2354264" cy="51911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9003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Begin Lab</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3" name="Picture 2">
            <a:extLst>
              <a:ext uri="{FF2B5EF4-FFF2-40B4-BE49-F238E27FC236}">
                <a16:creationId xmlns:a16="http://schemas.microsoft.com/office/drawing/2014/main" id="{D696F894-1DB0-42EE-A5D2-C45F217C7869}"/>
              </a:ext>
            </a:extLst>
          </p:cNvPr>
          <p:cNvPicPr>
            <a:picLocks noChangeAspect="1"/>
          </p:cNvPicPr>
          <p:nvPr/>
        </p:nvPicPr>
        <p:blipFill>
          <a:blip r:embed="rId8"/>
          <a:stretch>
            <a:fillRect/>
          </a:stretch>
        </p:blipFill>
        <p:spPr>
          <a:xfrm>
            <a:off x="6503354" y="857251"/>
            <a:ext cx="4644709" cy="4805748"/>
          </a:xfrm>
          <a:prstGeom prst="rect">
            <a:avLst/>
          </a:prstGeom>
        </p:spPr>
      </p:pic>
    </p:spTree>
    <p:extLst>
      <p:ext uri="{BB962C8B-B14F-4D97-AF65-F5344CB8AC3E}">
        <p14:creationId xmlns:p14="http://schemas.microsoft.com/office/powerpoint/2010/main" val="9295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1FC7A4DF-74D4-4CF5-BB4E-B5CAA7565CD4}"/>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329A0FCC-E1BB-4D1A-87A7-42EA53E054B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89713A42-9700-4998-97B6-89A0983C93E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Slicer Between</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Bookmar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nalytic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Mobile</a:t>
            </a: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9147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525DD7-6CF0-40F2-883E-DC5A57E2DCB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6EF55E1-2C2E-4DFB-B8FB-0C45DCB3FD96}"/>
              </a:ext>
            </a:extLst>
          </p:cNvPr>
          <p:cNvSpPr/>
          <p:nvPr/>
        </p:nvSpPr>
        <p:spPr>
          <a:xfrm>
            <a:off x="516741" y="4502976"/>
            <a:ext cx="1149221" cy="130910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132204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3D9234-8B29-4749-86FA-1D56FA0FD23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1652428" y="402024"/>
            <a:ext cx="833597"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63518B7-0936-4709-BFFC-026C83BB5834}"/>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9423496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8C481-42B8-4295-A659-28D48FAEDBF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96502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6B472-081B-4761-9D1F-A2F374AC3B4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384901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7CF2E-B931-45A6-8B9D-2E33A073772D}"/>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504016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B219A5-946A-4A24-879E-5E1EDA17CE8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14AD9D-DCAE-4BFD-A564-E388E085C436}"/>
              </a:ext>
            </a:extLst>
          </p:cNvPr>
          <p:cNvSpPr/>
          <p:nvPr/>
        </p:nvSpPr>
        <p:spPr>
          <a:xfrm>
            <a:off x="8358028" y="1583124"/>
            <a:ext cx="1268572" cy="307777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428458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4193E0-22FB-4359-A1E9-18C5E7C0F6F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00BC2454-79F5-42B0-AFA7-49CB33DD7647}"/>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D362610-8120-4608-B1DF-13D2F523F714}"/>
              </a:ext>
            </a:extLst>
          </p:cNvPr>
          <p:cNvSpPr/>
          <p:nvPr/>
        </p:nvSpPr>
        <p:spPr>
          <a:xfrm>
            <a:off x="8374061" y="462477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335055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F9AE8-456E-4DA0-9B24-8035A1F3CEC4}"/>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F85D87BB-7CEF-4405-AF7A-4A211848EC1E}"/>
              </a:ext>
            </a:extLst>
          </p:cNvPr>
          <p:cNvSpPr/>
          <p:nvPr/>
        </p:nvSpPr>
        <p:spPr>
          <a:xfrm>
            <a:off x="8374062" y="1391036"/>
            <a:ext cx="446088"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3548F2-8240-45B0-9713-CAB77EE006B4}"/>
              </a:ext>
            </a:extLst>
          </p:cNvPr>
          <p:cNvSpPr/>
          <p:nvPr/>
        </p:nvSpPr>
        <p:spPr>
          <a:xfrm>
            <a:off x="8374061" y="4800033"/>
            <a:ext cx="943769"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0543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DAD7F1-370D-4E59-8B9D-C111F278EF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D1C51525-7914-49C9-94DD-B1C633C786D2}"/>
              </a:ext>
            </a:extLst>
          </p:cNvPr>
          <p:cNvSpPr/>
          <p:nvPr/>
        </p:nvSpPr>
        <p:spPr>
          <a:xfrm>
            <a:off x="8058546" y="2609850"/>
            <a:ext cx="943769" cy="11239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64663D8C-7CCD-4C39-BCB9-2E451FFBAEAB}"/>
              </a:ext>
            </a:extLst>
          </p:cNvPr>
          <p:cNvSpPr/>
          <p:nvPr/>
        </p:nvSpPr>
        <p:spPr>
          <a:xfrm>
            <a:off x="9002314" y="3929063"/>
            <a:ext cx="2288332" cy="190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1120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grpSp>
        <p:nvGrpSpPr>
          <p:cNvPr id="22" name="Group 21">
            <a:extLst>
              <a:ext uri="{FF2B5EF4-FFF2-40B4-BE49-F238E27FC236}">
                <a16:creationId xmlns:a16="http://schemas.microsoft.com/office/drawing/2014/main" id="{F8457A0C-D7D7-491F-B8C8-47728D1C61A9}"/>
              </a:ext>
            </a:extLst>
          </p:cNvPr>
          <p:cNvGrpSpPr/>
          <p:nvPr/>
        </p:nvGrpSpPr>
        <p:grpSpPr>
          <a:xfrm>
            <a:off x="11290646" y="6569923"/>
            <a:ext cx="831504" cy="252506"/>
            <a:chOff x="668108" y="601336"/>
            <a:chExt cx="3665655" cy="1113164"/>
          </a:xfrm>
          <a:solidFill>
            <a:sysClr val="window" lastClr="FFFFFF"/>
          </a:solidFill>
        </p:grpSpPr>
        <p:pic>
          <p:nvPicPr>
            <p:cNvPr id="23" name="Picture 22">
              <a:hlinkClick r:id="rId7"/>
              <a:extLst>
                <a:ext uri="{FF2B5EF4-FFF2-40B4-BE49-F238E27FC236}">
                  <a16:creationId xmlns:a16="http://schemas.microsoft.com/office/drawing/2014/main" id="{A59CF815-49B9-4B2D-81DA-9BE6FBDF9691}"/>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24" name="Picture 23">
              <a:hlinkClick r:id="rId7"/>
              <a:extLst>
                <a:ext uri="{FF2B5EF4-FFF2-40B4-BE49-F238E27FC236}">
                  <a16:creationId xmlns:a16="http://schemas.microsoft.com/office/drawing/2014/main" id="{F5355033-AA95-4CAA-9FFC-E983410B5936}"/>
                </a:ext>
              </a:extLst>
            </p:cNvPr>
            <p:cNvPicPr>
              <a:picLocks noChangeAspect="1"/>
            </p:cNvPicPr>
            <p:nvPr/>
          </p:nvPicPr>
          <p:blipFill>
            <a:blip r:embed="rId9"/>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B67085-84B8-41FA-9B3D-9BDE1D02C86F}"/>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995818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A1E456-BB35-4D19-9585-F91276CFD49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12746A4E-E9EA-4F27-B5A6-0A6C9370CA08}"/>
              </a:ext>
            </a:extLst>
          </p:cNvPr>
          <p:cNvSpPr/>
          <p:nvPr/>
        </p:nvSpPr>
        <p:spPr>
          <a:xfrm>
            <a:off x="6299200" y="1879600"/>
            <a:ext cx="3621088" cy="20955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93EB0D8-113B-4B9E-8219-BA09D10ED95F}"/>
              </a:ext>
            </a:extLst>
          </p:cNvPr>
          <p:cNvSpPr/>
          <p:nvPr/>
        </p:nvSpPr>
        <p:spPr>
          <a:xfrm>
            <a:off x="10642600" y="2387600"/>
            <a:ext cx="1284288" cy="24325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4585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ECA639-D8A5-4E99-8839-3F11E243A431}"/>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09110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23F6169-C31F-4692-9AB0-2D8FEED76746}"/>
              </a:ext>
            </a:extLst>
          </p:cNvPr>
          <p:cNvGrpSpPr/>
          <p:nvPr/>
        </p:nvGrpSpPr>
        <p:grpSpPr>
          <a:xfrm>
            <a:off x="0" y="1983"/>
            <a:ext cx="12192000" cy="6854034"/>
            <a:chOff x="0" y="1983"/>
            <a:chExt cx="12192000" cy="6854034"/>
          </a:xfrm>
        </p:grpSpPr>
        <p:pic>
          <p:nvPicPr>
            <p:cNvPr id="4" name="Picture 3">
              <a:extLst>
                <a:ext uri="{FF2B5EF4-FFF2-40B4-BE49-F238E27FC236}">
                  <a16:creationId xmlns:a16="http://schemas.microsoft.com/office/drawing/2014/main" id="{40260C7F-8775-4A43-A7AE-F20F914B86DD}"/>
                </a:ext>
              </a:extLst>
            </p:cNvPr>
            <p:cNvPicPr>
              <a:picLocks noChangeAspect="1"/>
            </p:cNvPicPr>
            <p:nvPr/>
          </p:nvPicPr>
          <p:blipFill>
            <a:blip r:embed="rId3"/>
            <a:stretch>
              <a:fillRect/>
            </a:stretch>
          </p:blipFill>
          <p:spPr>
            <a:xfrm>
              <a:off x="0" y="1983"/>
              <a:ext cx="12192000" cy="6854034"/>
            </a:xfrm>
            <a:prstGeom prst="rect">
              <a:avLst/>
            </a:prstGeom>
          </p:spPr>
        </p:pic>
        <p:pic>
          <p:nvPicPr>
            <p:cNvPr id="13" name="Picture 12">
              <a:extLst>
                <a:ext uri="{FF2B5EF4-FFF2-40B4-BE49-F238E27FC236}">
                  <a16:creationId xmlns:a16="http://schemas.microsoft.com/office/drawing/2014/main" id="{73278C1B-243D-4125-BBEF-487DD072B8EA}"/>
                </a:ext>
              </a:extLst>
            </p:cNvPr>
            <p:cNvPicPr>
              <a:picLocks noChangeAspect="1"/>
            </p:cNvPicPr>
            <p:nvPr/>
          </p:nvPicPr>
          <p:blipFill rotWithShape="1">
            <a:blip r:embed="rId4"/>
            <a:srcRect b="85251"/>
            <a:stretch/>
          </p:blipFill>
          <p:spPr>
            <a:xfrm>
              <a:off x="0" y="1983"/>
              <a:ext cx="12192000" cy="1010918"/>
            </a:xfrm>
            <a:prstGeom prst="rect">
              <a:avLst/>
            </a:prstGeom>
          </p:spPr>
        </p:pic>
      </p:grpSp>
      <p:sp>
        <p:nvSpPr>
          <p:cNvPr id="12" name="Rectangle 11">
            <a:hlinkClick r:id="rId5"/>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9E7FF445-990B-4C60-9E0D-AC228731707A}"/>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330847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FE225-459B-4D50-BD17-10DDE741FD08}"/>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E3859AC-4789-4D92-AC33-467F8FF91E37}"/>
              </a:ext>
            </a:extLst>
          </p:cNvPr>
          <p:cNvSpPr/>
          <p:nvPr/>
        </p:nvSpPr>
        <p:spPr>
          <a:xfrm>
            <a:off x="0" y="355600"/>
            <a:ext cx="1684020" cy="7188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2F04FBC-7393-4578-B7D1-0FD77F0112B6}"/>
              </a:ext>
            </a:extLst>
          </p:cNvPr>
          <p:cNvSpPr/>
          <p:nvPr/>
        </p:nvSpPr>
        <p:spPr>
          <a:xfrm>
            <a:off x="9606626" y="1009688"/>
            <a:ext cx="258537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369711C-F488-4841-92D3-A88418C2E85E}"/>
              </a:ext>
            </a:extLst>
          </p:cNvPr>
          <p:cNvSpPr/>
          <p:nvPr/>
        </p:nvSpPr>
        <p:spPr>
          <a:xfrm>
            <a:off x="3751579" y="1679575"/>
            <a:ext cx="2449195" cy="41211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22434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9A590C-F7DD-40E1-9666-F6FB6BB5B51D}"/>
              </a:ext>
            </a:extLst>
          </p:cNvPr>
          <p:cNvPicPr>
            <a:picLocks noChangeAspect="1"/>
          </p:cNvPicPr>
          <p:nvPr/>
        </p:nvPicPr>
        <p:blipFill>
          <a:blip r:embed="rId3"/>
          <a:stretch>
            <a:fillRect/>
          </a:stretch>
        </p:blipFill>
        <p:spPr>
          <a:xfrm>
            <a:off x="0" y="1983"/>
            <a:ext cx="12192000" cy="6854034"/>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E7584D68-F701-4068-A5E4-4BC611EA5E0E}"/>
              </a:ext>
            </a:extLst>
          </p:cNvPr>
          <p:cNvSpPr/>
          <p:nvPr/>
        </p:nvSpPr>
        <p:spPr>
          <a:xfrm>
            <a:off x="7615396" y="365302"/>
            <a:ext cx="1684020" cy="119044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138220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re-lab: </a:t>
            </a:r>
            <a:r>
              <a:rPr lang="en-US" sz="2000" kern="0" dirty="0">
                <a:solidFill>
                  <a:srgbClr val="F2C812"/>
                </a:solidFill>
              </a:rPr>
              <a:t>goo.gl/e1r2iq</a:t>
            </a: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Get Data: </a:t>
            </a:r>
            <a:r>
              <a:rPr lang="en-US" sz="2000" kern="0" dirty="0">
                <a:solidFill>
                  <a:srgbClr val="F2C812"/>
                </a:solidFill>
              </a:rPr>
              <a:t>goo.gl/</a:t>
            </a:r>
            <a:r>
              <a:rPr lang="en-US" sz="2000" kern="0" dirty="0" err="1">
                <a:solidFill>
                  <a:srgbClr val="F2C812"/>
                </a:solidFill>
              </a:rPr>
              <a:t>GiuiM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Data Prep: </a:t>
            </a:r>
            <a:r>
              <a:rPr lang="en-US" sz="2000" kern="0" dirty="0">
                <a:solidFill>
                  <a:srgbClr val="F2C812"/>
                </a:solidFill>
              </a:rPr>
              <a:t>goo.gl/</a:t>
            </a:r>
            <a:r>
              <a:rPr lang="en-US" sz="2000" kern="0" dirty="0" err="1">
                <a:solidFill>
                  <a:srgbClr val="F2C812"/>
                </a:solidFill>
              </a:rPr>
              <a:t>UjmsLV</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Model and Explore: </a:t>
            </a:r>
            <a:r>
              <a:rPr lang="en-US" sz="2000" kern="0" dirty="0">
                <a:solidFill>
                  <a:srgbClr val="F2C812"/>
                </a:solidFill>
              </a:rPr>
              <a:t>goo.gl/</a:t>
            </a:r>
            <a:r>
              <a:rPr lang="en-US" sz="2000" kern="0" dirty="0" err="1">
                <a:solidFill>
                  <a:srgbClr val="F2C812"/>
                </a:solidFill>
              </a:rPr>
              <a:t>mpCUSC</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Visualizations: </a:t>
            </a:r>
            <a:r>
              <a:rPr lang="en-US" sz="2000" kern="0" dirty="0">
                <a:solidFill>
                  <a:srgbClr val="F2C812"/>
                </a:solidFill>
              </a:rPr>
              <a:t>goo.gl/</a:t>
            </a:r>
            <a:r>
              <a:rPr lang="en-US" sz="2000" kern="0" dirty="0" err="1">
                <a:solidFill>
                  <a:srgbClr val="F2C812"/>
                </a:solidFill>
              </a:rPr>
              <a:t>qEbruw</a:t>
            </a:r>
            <a:endParaRPr lang="en-US" sz="2000" kern="0" dirty="0">
              <a:solidFill>
                <a:srgbClr val="F2C812"/>
              </a:solidFill>
            </a:endParaRPr>
          </a:p>
          <a:p>
            <a:pPr marL="228600" lvl="0" indent="-228600">
              <a:lnSpc>
                <a:spcPct val="90000"/>
              </a:lnSpc>
              <a:spcBef>
                <a:spcPts val="1000"/>
              </a:spcBef>
              <a:buClr>
                <a:srgbClr val="F2C812"/>
              </a:buClr>
              <a:buFont typeface="Arial" panose="020B0604020202020204" pitchFamily="34" charset="0"/>
              <a:buChar char="•"/>
              <a:defRPr/>
            </a:pPr>
            <a:r>
              <a:rPr lang="en-US" sz="2000" kern="0" dirty="0">
                <a:solidFill>
                  <a:srgbClr val="FFFFFF"/>
                </a:solidFill>
              </a:rPr>
              <a:t>Power BI Service: </a:t>
            </a:r>
            <a:r>
              <a:rPr lang="en-US" sz="2000" kern="0" dirty="0">
                <a:solidFill>
                  <a:srgbClr val="F2C812"/>
                </a:solidFill>
              </a:rPr>
              <a:t>goo.gl/2b9HYH</a:t>
            </a:r>
          </a:p>
        </p:txBody>
      </p:sp>
    </p:spTree>
    <p:extLst>
      <p:ext uri="{BB962C8B-B14F-4D97-AF65-F5344CB8AC3E}">
        <p14:creationId xmlns:p14="http://schemas.microsoft.com/office/powerpoint/2010/main" val="188221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S</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0"/>
            <a:ext cx="3666498" cy="6858000"/>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Service</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Gatewa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chedule Refres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Security</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Walkthrough</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shboard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Repo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Datase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Alert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Q&amp;A</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Excel Workbooks</a:t>
            </a:r>
          </a:p>
          <a:p>
            <a:pPr marL="0" indent="0" algn="r">
              <a:buNone/>
            </a:pPr>
            <a:r>
              <a:rPr lang="en-US" sz="2400" dirty="0">
                <a:solidFill>
                  <a:srgbClr val="FFFFFF"/>
                </a:solidFill>
                <a:latin typeface="Segoe UI Light" panose="020B0502040204020203" pitchFamily="34" charset="0"/>
                <a:cs typeface="Segoe UI Light" panose="020B0502040204020203" pitchFamily="34" charset="0"/>
              </a:rPr>
              <a:t>Collaboration using Apps</a:t>
            </a:r>
          </a:p>
        </p:txBody>
      </p:sp>
      <p:sp>
        <p:nvSpPr>
          <p:cNvPr id="11" name="Parallelogram 1">
            <a:extLst>
              <a:ext uri="{FF2B5EF4-FFF2-40B4-BE49-F238E27FC236}">
                <a16:creationId xmlns:a16="http://schemas.microsoft.com/office/drawing/2014/main" id="{63185253-5447-4278-BE91-D638C34D84C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1ACB0F7F-2D71-4305-B80C-5CFC38A8499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FCE23F2F-F0EB-46F6-A53C-DF6BF9EDE69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6CA54A0C-78AC-437C-B2DC-9B2DCC0F6BE1}"/>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4158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4CE5D7F-5CC1-446E-A565-4F20EF4F427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7194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4" name="Group 13">
            <a:extLst>
              <a:ext uri="{FF2B5EF4-FFF2-40B4-BE49-F238E27FC236}">
                <a16:creationId xmlns:a16="http://schemas.microsoft.com/office/drawing/2014/main" id="{79E960C6-EC06-4179-9DFE-F884A2582999}"/>
              </a:ext>
            </a:extLst>
          </p:cNvPr>
          <p:cNvGrpSpPr/>
          <p:nvPr/>
        </p:nvGrpSpPr>
        <p:grpSpPr>
          <a:xfrm>
            <a:off x="11290646" y="6569923"/>
            <a:ext cx="831504" cy="252506"/>
            <a:chOff x="668108" y="601336"/>
            <a:chExt cx="3665655" cy="1113164"/>
          </a:xfrm>
          <a:solidFill>
            <a:sysClr val="window" lastClr="FFFFFF"/>
          </a:solidFill>
        </p:grpSpPr>
        <p:pic>
          <p:nvPicPr>
            <p:cNvPr id="19" name="Picture 18">
              <a:hlinkClick r:id="rId6"/>
              <a:extLst>
                <a:ext uri="{FF2B5EF4-FFF2-40B4-BE49-F238E27FC236}">
                  <a16:creationId xmlns:a16="http://schemas.microsoft.com/office/drawing/2014/main" id="{76095551-DC89-48BF-A472-E35ECEF7C2D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1" name="Picture 20">
              <a:hlinkClick r:id="rId6"/>
              <a:extLst>
                <a:ext uri="{FF2B5EF4-FFF2-40B4-BE49-F238E27FC236}">
                  <a16:creationId xmlns:a16="http://schemas.microsoft.com/office/drawing/2014/main" id="{6490DB72-8A57-43E5-87E9-78651438FCD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87D461-16D4-4732-9A51-BC6C75A56AA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06726754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F0812219-2A5A-4F26-B86F-46CA8B28A39D}"/>
              </a:ext>
            </a:extLst>
          </p:cNvPr>
          <p:cNvPicPr>
            <a:picLocks noChangeAspect="1"/>
          </p:cNvPicPr>
          <p:nvPr/>
        </p:nvPicPr>
        <p:blipFill>
          <a:blip r:embed="rId6"/>
          <a:stretch>
            <a:fillRect/>
          </a:stretch>
        </p:blipFill>
        <p:spPr>
          <a:xfrm>
            <a:off x="0" y="1269"/>
            <a:ext cx="12192000" cy="6855462"/>
          </a:xfrm>
          <a:prstGeom prst="rect">
            <a:avLst/>
          </a:prstGeom>
        </p:spPr>
      </p:pic>
      <p:sp>
        <p:nvSpPr>
          <p:cNvPr id="12" name="Rectangle 11">
            <a:extLst>
              <a:ext uri="{FF2B5EF4-FFF2-40B4-BE49-F238E27FC236}">
                <a16:creationId xmlns:a16="http://schemas.microsoft.com/office/drawing/2014/main" id="{E22F9A1F-55F8-4CFB-8CE7-2A864E1D402A}"/>
              </a:ext>
            </a:extLst>
          </p:cNvPr>
          <p:cNvSpPr/>
          <p:nvPr/>
        </p:nvSpPr>
        <p:spPr>
          <a:xfrm>
            <a:off x="1013460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785020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1F4D7-A69F-42E3-ADD7-8308AF395429}"/>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FC10ADB-9ADB-425B-8CB7-8F3B1947FC15}"/>
              </a:ext>
            </a:extLst>
          </p:cNvPr>
          <p:cNvSpPr/>
          <p:nvPr/>
        </p:nvSpPr>
        <p:spPr>
          <a:xfrm>
            <a:off x="1053084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6886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5F2021-92B0-485B-94F3-F4A98B62805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0077560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388282-147F-4F4E-B1B0-6AD8BB6EAF9F}"/>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8837473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F01E912-7AB9-4CF2-9EB8-32DF93B57E31}"/>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05236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95DA4F2-E42E-43E8-974F-C66AFAAE0F2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852501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928B5C-02A1-416B-980D-217F6C0478C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35F4D09D-6974-479D-8CC4-B48F3D696C00}"/>
              </a:ext>
            </a:extLst>
          </p:cNvPr>
          <p:cNvPicPr>
            <a:picLocks noChangeAspect="1"/>
          </p:cNvPicPr>
          <p:nvPr/>
        </p:nvPicPr>
        <p:blipFill rotWithShape="1">
          <a:blip r:embed="rId7"/>
          <a:srcRect t="2390" b="4852"/>
          <a:stretch/>
        </p:blipFill>
        <p:spPr>
          <a:xfrm>
            <a:off x="2705269" y="5737682"/>
            <a:ext cx="1267002" cy="733425"/>
          </a:xfrm>
          <a:prstGeom prst="rect">
            <a:avLst/>
          </a:prstGeom>
        </p:spPr>
      </p:pic>
      <p:grpSp>
        <p:nvGrpSpPr>
          <p:cNvPr id="32" name="Group 31">
            <a:extLst>
              <a:ext uri="{FF2B5EF4-FFF2-40B4-BE49-F238E27FC236}">
                <a16:creationId xmlns:a16="http://schemas.microsoft.com/office/drawing/2014/main" id="{E62DF4D0-A9D4-4291-BB5D-5E06E6DE09D5}"/>
              </a:ext>
            </a:extLst>
          </p:cNvPr>
          <p:cNvGrpSpPr/>
          <p:nvPr/>
        </p:nvGrpSpPr>
        <p:grpSpPr>
          <a:xfrm>
            <a:off x="2663189" y="5695393"/>
            <a:ext cx="2324101" cy="852304"/>
            <a:chOff x="2796539" y="5717619"/>
            <a:chExt cx="2324101" cy="852304"/>
          </a:xfrm>
        </p:grpSpPr>
        <p:cxnSp>
          <p:nvCxnSpPr>
            <p:cNvPr id="7" name="Straight Connector 6">
              <a:extLst>
                <a:ext uri="{FF2B5EF4-FFF2-40B4-BE49-F238E27FC236}">
                  <a16:creationId xmlns:a16="http://schemas.microsoft.com/office/drawing/2014/main" id="{1B230D21-010B-417C-BEB7-FC2CED43D5E8}"/>
                </a:ext>
              </a:extLst>
            </p:cNvPr>
            <p:cNvCxnSpPr/>
            <p:nvPr/>
          </p:nvCxnSpPr>
          <p:spPr>
            <a:xfrm>
              <a:off x="2796540" y="5717721"/>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A5E5912-C5C4-41B5-ADFB-033287959857}"/>
                </a:ext>
              </a:extLst>
            </p:cNvPr>
            <p:cNvCxnSpPr>
              <a:cxnSpLocks/>
            </p:cNvCxnSpPr>
            <p:nvPr/>
          </p:nvCxnSpPr>
          <p:spPr>
            <a:xfrm>
              <a:off x="4119563" y="5717619"/>
              <a:ext cx="1001077" cy="396301"/>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2D0267A4-4581-4280-8CC6-918E7EC5CDED}"/>
                </a:ext>
              </a:extLst>
            </p:cNvPr>
            <p:cNvCxnSpPr>
              <a:cxnSpLocks/>
            </p:cNvCxnSpPr>
            <p:nvPr/>
          </p:nvCxnSpPr>
          <p:spPr>
            <a:xfrm>
              <a:off x="2796540" y="5717721"/>
              <a:ext cx="0" cy="852202"/>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1B5A153A-7210-4EBC-A01D-6DB203EA717F}"/>
                </a:ext>
              </a:extLst>
            </p:cNvPr>
            <p:cNvCxnSpPr/>
            <p:nvPr/>
          </p:nvCxnSpPr>
          <p:spPr>
            <a:xfrm>
              <a:off x="2796539" y="6553594"/>
              <a:ext cx="1347179" cy="0"/>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4298DDEB-D3C9-47E5-8FF8-3772906852B4}"/>
                </a:ext>
              </a:extLst>
            </p:cNvPr>
            <p:cNvCxnSpPr>
              <a:cxnSpLocks/>
            </p:cNvCxnSpPr>
            <p:nvPr/>
          </p:nvCxnSpPr>
          <p:spPr>
            <a:xfrm flipV="1">
              <a:off x="4119563" y="6113920"/>
              <a:ext cx="1001077" cy="439674"/>
            </a:xfrm>
            <a:prstGeom prst="lin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06456142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808337-B7F7-4C4C-9D12-D15C0C098F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133040"/>
            <a:ext cx="1451429" cy="26125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047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78E4E-E9AC-4D9E-B493-082CDF4714A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3096A344-14F6-469A-B8A1-0FFD120C2848}"/>
              </a:ext>
            </a:extLst>
          </p:cNvPr>
          <p:cNvSpPr/>
          <p:nvPr/>
        </p:nvSpPr>
        <p:spPr>
          <a:xfrm>
            <a:off x="4904014" y="2781300"/>
            <a:ext cx="2055586" cy="1892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3298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grpSp>
        <p:nvGrpSpPr>
          <p:cNvPr id="12" name="Group 11">
            <a:extLst>
              <a:ext uri="{FF2B5EF4-FFF2-40B4-BE49-F238E27FC236}">
                <a16:creationId xmlns:a16="http://schemas.microsoft.com/office/drawing/2014/main" id="{4FDF8100-31F4-4A64-8A54-AECF3687DCA3}"/>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5"/>
              <a:extLst>
                <a:ext uri="{FF2B5EF4-FFF2-40B4-BE49-F238E27FC236}">
                  <a16:creationId xmlns:a16="http://schemas.microsoft.com/office/drawing/2014/main" id="{EDC20B11-2F70-489F-B389-F00A635C208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1F437D26-0F31-4AA6-8B98-F3D4E2BED3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43FE1-DE03-4E39-BE32-C9BE80CA96C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9438824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A4C252-17C1-4004-AD3C-D25006BA22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4245592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048B48-F7A6-4BDD-9332-DB4CF5C3BAB2}"/>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46575856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8"/>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9"/>
          <a:stretch>
            <a:fillRect/>
          </a:stretch>
        </p:blipFill>
        <p:spPr>
          <a:xfrm>
            <a:off x="67706" y="34925"/>
            <a:ext cx="398847" cy="607475"/>
          </a:xfrm>
          <a:prstGeom prst="rect">
            <a:avLst/>
          </a:prstGeom>
        </p:spPr>
      </p:pic>
      <p:pic>
        <p:nvPicPr>
          <p:cNvPr id="5" name="Picture 4">
            <a:extLst>
              <a:ext uri="{FF2B5EF4-FFF2-40B4-BE49-F238E27FC236}">
                <a16:creationId xmlns:a16="http://schemas.microsoft.com/office/drawing/2014/main" id="{937BFB39-8DD2-482E-8D9D-C9F7787F5EE2}"/>
              </a:ext>
            </a:extLst>
          </p:cNvPr>
          <p:cNvPicPr>
            <a:picLocks noChangeAspect="1"/>
          </p:cNvPicPr>
          <p:nvPr/>
        </p:nvPicPr>
        <p:blipFill>
          <a:blip r:embed="rId10"/>
          <a:stretch>
            <a:fillRect/>
          </a:stretch>
        </p:blipFill>
        <p:spPr>
          <a:xfrm>
            <a:off x="1895475" y="1290637"/>
            <a:ext cx="8401050" cy="4276725"/>
          </a:xfrm>
          <a:prstGeom prst="rect">
            <a:avLst/>
          </a:prstGeom>
        </p:spPr>
      </p:pic>
    </p:spTree>
    <p:extLst>
      <p:ext uri="{BB962C8B-B14F-4D97-AF65-F5344CB8AC3E}">
        <p14:creationId xmlns:p14="http://schemas.microsoft.com/office/powerpoint/2010/main" val="116311546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4E4932-CE4D-4C42-B9E3-AF4BC20D35BA}"/>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3" name="Rectangle 2">
            <a:extLst>
              <a:ext uri="{FF2B5EF4-FFF2-40B4-BE49-F238E27FC236}">
                <a16:creationId xmlns:a16="http://schemas.microsoft.com/office/drawing/2014/main" id="{F484A8B2-15DC-4A81-9140-E4FFE0C5FF32}"/>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519963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9F3491-DDE9-4FCB-8598-E3EB8207215C}"/>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A7C9A2B8-2198-4F7F-8082-320ED49C8FBD}"/>
              </a:ext>
            </a:extLst>
          </p:cNvPr>
          <p:cNvPicPr>
            <a:picLocks noChangeAspect="1"/>
          </p:cNvPicPr>
          <p:nvPr/>
        </p:nvPicPr>
        <p:blipFill>
          <a:blip r:embed="rId4"/>
          <a:stretch>
            <a:fillRect/>
          </a:stretch>
        </p:blipFill>
        <p:spPr>
          <a:xfrm>
            <a:off x="50006" y="730918"/>
            <a:ext cx="434248" cy="519874"/>
          </a:xfrm>
          <a:prstGeom prst="rect">
            <a:avLst/>
          </a:prstGeom>
        </p:spPr>
      </p:pic>
      <p:pic>
        <p:nvPicPr>
          <p:cNvPr id="2" name="Picture 1">
            <a:extLst>
              <a:ext uri="{FF2B5EF4-FFF2-40B4-BE49-F238E27FC236}">
                <a16:creationId xmlns:a16="http://schemas.microsoft.com/office/drawing/2014/main" id="{82A20FAC-4F8A-46CB-B203-8B62117FA466}"/>
              </a:ext>
            </a:extLst>
          </p:cNvPr>
          <p:cNvPicPr>
            <a:picLocks noChangeAspect="1"/>
          </p:cNvPicPr>
          <p:nvPr/>
        </p:nvPicPr>
        <p:blipFill>
          <a:blip r:embed="rId5"/>
          <a:stretch>
            <a:fillRect/>
          </a:stretch>
        </p:blipFill>
        <p:spPr>
          <a:xfrm>
            <a:off x="1400175" y="57150"/>
            <a:ext cx="9391650" cy="67437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pic>
        <p:nvPicPr>
          <p:cNvPr id="14" name="Picture 13">
            <a:extLst>
              <a:ext uri="{FF2B5EF4-FFF2-40B4-BE49-F238E27FC236}">
                <a16:creationId xmlns:a16="http://schemas.microsoft.com/office/drawing/2014/main" id="{D9DCB3AE-218D-43FC-AAFE-7DB834293E1D}"/>
              </a:ext>
            </a:extLst>
          </p:cNvPr>
          <p:cNvPicPr>
            <a:picLocks noChangeAspect="1"/>
          </p:cNvPicPr>
          <p:nvPr/>
        </p:nvPicPr>
        <p:blipFill>
          <a:blip r:embed="rId9"/>
          <a:stretch>
            <a:fillRect/>
          </a:stretch>
        </p:blipFill>
        <p:spPr>
          <a:xfrm>
            <a:off x="-39102" y="1347106"/>
            <a:ext cx="634415" cy="732521"/>
          </a:xfrm>
          <a:prstGeom prst="rect">
            <a:avLst/>
          </a:prstGeom>
        </p:spPr>
      </p:pic>
      <p:pic>
        <p:nvPicPr>
          <p:cNvPr id="15" name="Picture 14">
            <a:extLst>
              <a:ext uri="{FF2B5EF4-FFF2-40B4-BE49-F238E27FC236}">
                <a16:creationId xmlns:a16="http://schemas.microsoft.com/office/drawing/2014/main" id="{A332ECAF-5795-43D1-BF02-79EC9D882ADD}"/>
              </a:ext>
            </a:extLst>
          </p:cNvPr>
          <p:cNvPicPr>
            <a:picLocks noChangeAspect="1"/>
          </p:cNvPicPr>
          <p:nvPr/>
        </p:nvPicPr>
        <p:blipFill>
          <a:blip r:embed="rId10"/>
          <a:stretch>
            <a:fillRect/>
          </a:stretch>
        </p:blipFill>
        <p:spPr>
          <a:xfrm>
            <a:off x="67706" y="34925"/>
            <a:ext cx="398847" cy="607475"/>
          </a:xfrm>
          <a:prstGeom prst="rect">
            <a:avLst/>
          </a:prstGeom>
        </p:spPr>
      </p:pic>
    </p:spTree>
    <p:extLst>
      <p:ext uri="{BB962C8B-B14F-4D97-AF65-F5344CB8AC3E}">
        <p14:creationId xmlns:p14="http://schemas.microsoft.com/office/powerpoint/2010/main" val="85067324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EBDEB6-2421-4247-A329-5E3823538963}"/>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487B5EBD-64AF-4070-9716-0D451C7527F5}"/>
              </a:ext>
            </a:extLst>
          </p:cNvPr>
          <p:cNvSpPr/>
          <p:nvPr/>
        </p:nvSpPr>
        <p:spPr>
          <a:xfrm>
            <a:off x="5473700" y="3429000"/>
            <a:ext cx="889000" cy="59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85200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18B71E-23B3-45DF-9F53-28D0DB48C9E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827DE8D5-8C07-4D8B-914B-AB6E48368C62}"/>
              </a:ext>
            </a:extLst>
          </p:cNvPr>
          <p:cNvPicPr>
            <a:picLocks noChangeAspect="1"/>
          </p:cNvPicPr>
          <p:nvPr/>
        </p:nvPicPr>
        <p:blipFill>
          <a:blip r:embed="rId8"/>
          <a:stretch>
            <a:fillRect/>
          </a:stretch>
        </p:blipFill>
        <p:spPr>
          <a:xfrm>
            <a:off x="0" y="1626312"/>
            <a:ext cx="8008438" cy="4810126"/>
          </a:xfrm>
          <a:prstGeom prst="rect">
            <a:avLst/>
          </a:prstGeom>
        </p:spPr>
      </p:pic>
      <p:pic>
        <p:nvPicPr>
          <p:cNvPr id="2" name="Picture 1">
            <a:extLst>
              <a:ext uri="{FF2B5EF4-FFF2-40B4-BE49-F238E27FC236}">
                <a16:creationId xmlns:a16="http://schemas.microsoft.com/office/drawing/2014/main" id="{46E4AC8B-3C7B-4B9B-A3CE-BFD994B87558}"/>
              </a:ext>
            </a:extLst>
          </p:cNvPr>
          <p:cNvPicPr>
            <a:picLocks noChangeAspect="1"/>
          </p:cNvPicPr>
          <p:nvPr/>
        </p:nvPicPr>
        <p:blipFill>
          <a:blip r:embed="rId9"/>
          <a:stretch>
            <a:fillRect/>
          </a:stretch>
        </p:blipFill>
        <p:spPr>
          <a:xfrm>
            <a:off x="8780451" y="1626312"/>
            <a:ext cx="3411549" cy="3429000"/>
          </a:xfrm>
          <a:prstGeom prst="rect">
            <a:avLst/>
          </a:prstGeom>
        </p:spPr>
      </p:pic>
      <p:cxnSp>
        <p:nvCxnSpPr>
          <p:cNvPr id="13" name="Straight Arrow Connector 12">
            <a:extLst>
              <a:ext uri="{FF2B5EF4-FFF2-40B4-BE49-F238E27FC236}">
                <a16:creationId xmlns:a16="http://schemas.microsoft.com/office/drawing/2014/main" id="{B6315F8E-C9FC-4A59-A501-1C76320C3BF5}"/>
              </a:ext>
            </a:extLst>
          </p:cNvPr>
          <p:cNvCxnSpPr>
            <a:cxnSpLocks/>
          </p:cNvCxnSpPr>
          <p:nvPr/>
        </p:nvCxnSpPr>
        <p:spPr>
          <a:xfrm flipH="1">
            <a:off x="1728788" y="822639"/>
            <a:ext cx="3699212" cy="107283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1A6BF5D-21BA-46FA-BDF8-3D403EE19FE3}"/>
              </a:ext>
            </a:extLst>
          </p:cNvPr>
          <p:cNvCxnSpPr>
            <a:cxnSpLocks/>
          </p:cNvCxnSpPr>
          <p:nvPr/>
        </p:nvCxnSpPr>
        <p:spPr>
          <a:xfrm>
            <a:off x="5994400" y="822639"/>
            <a:ext cx="3111500" cy="9807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A97DABC-E499-49EC-955A-A6A8725A510C}"/>
              </a:ext>
            </a:extLst>
          </p:cNvPr>
          <p:cNvSpPr/>
          <p:nvPr/>
        </p:nvSpPr>
        <p:spPr>
          <a:xfrm>
            <a:off x="8951086" y="3675419"/>
            <a:ext cx="889000" cy="279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83298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CFA37BB-0FF0-406A-8794-7254DCC373A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02758F01-02D1-4877-BFD6-0F28D2AC20D5}"/>
              </a:ext>
            </a:extLst>
          </p:cNvPr>
          <p:cNvSpPr/>
          <p:nvPr/>
        </p:nvSpPr>
        <p:spPr>
          <a:xfrm>
            <a:off x="292100" y="952500"/>
            <a:ext cx="2730500" cy="355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420768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991C37-9A7B-453A-97ED-FEF78C157A77}"/>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6813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25" name="Group 24">
            <a:extLst>
              <a:ext uri="{FF2B5EF4-FFF2-40B4-BE49-F238E27FC236}">
                <a16:creationId xmlns:a16="http://schemas.microsoft.com/office/drawing/2014/main" id="{2B567160-3ED0-4ED9-A438-77F174B02EAE}"/>
              </a:ext>
            </a:extLst>
          </p:cNvPr>
          <p:cNvGrpSpPr/>
          <p:nvPr/>
        </p:nvGrpSpPr>
        <p:grpSpPr>
          <a:xfrm>
            <a:off x="11290646" y="6569923"/>
            <a:ext cx="831504" cy="252506"/>
            <a:chOff x="668108" y="601336"/>
            <a:chExt cx="3665655" cy="1113164"/>
          </a:xfrm>
          <a:solidFill>
            <a:sysClr val="window" lastClr="FFFFFF"/>
          </a:solidFill>
        </p:grpSpPr>
        <p:pic>
          <p:nvPicPr>
            <p:cNvPr id="26" name="Picture 25">
              <a:hlinkClick r:id="rId14"/>
              <a:extLst>
                <a:ext uri="{FF2B5EF4-FFF2-40B4-BE49-F238E27FC236}">
                  <a16:creationId xmlns:a16="http://schemas.microsoft.com/office/drawing/2014/main" id="{2B8221CA-5116-4805-90B7-9E0CB626B158}"/>
                </a:ext>
              </a:extLst>
            </p:cNvPr>
            <p:cNvPicPr>
              <a:picLocks noChangeAspect="1"/>
            </p:cNvPicPr>
            <p:nvPr/>
          </p:nvPicPr>
          <p:blipFill>
            <a:blip r:embed="rId15"/>
            <a:stretch>
              <a:fillRect/>
            </a:stretch>
          </p:blipFill>
          <p:spPr>
            <a:xfrm>
              <a:off x="668108" y="601336"/>
              <a:ext cx="1151971" cy="1113164"/>
            </a:xfrm>
            <a:prstGeom prst="rect">
              <a:avLst/>
            </a:prstGeom>
            <a:grpFill/>
          </p:spPr>
        </p:pic>
        <p:pic>
          <p:nvPicPr>
            <p:cNvPr id="27" name="Picture 26">
              <a:hlinkClick r:id="rId14"/>
              <a:extLst>
                <a:ext uri="{FF2B5EF4-FFF2-40B4-BE49-F238E27FC236}">
                  <a16:creationId xmlns:a16="http://schemas.microsoft.com/office/drawing/2014/main" id="{B4BE6D33-A81A-45AF-A168-86A923951FE4}"/>
                </a:ext>
              </a:extLst>
            </p:cNvPr>
            <p:cNvPicPr>
              <a:picLocks noChangeAspect="1"/>
            </p:cNvPicPr>
            <p:nvPr/>
          </p:nvPicPr>
          <p:blipFill>
            <a:blip r:embed="rId1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D43536-3241-41AB-A6BE-88891DF7C0EB}"/>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315674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705EE9-87ED-438E-8F3A-F141C3FE5C3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98097079-64E5-4AC8-B8F2-C8A2EE520D64}"/>
              </a:ext>
            </a:extLst>
          </p:cNvPr>
          <p:cNvSpPr/>
          <p:nvPr/>
        </p:nvSpPr>
        <p:spPr>
          <a:xfrm>
            <a:off x="6197601" y="3036711"/>
            <a:ext cx="663222" cy="502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88748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087DED-F84E-461D-83CE-0A444E8A18D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585CFAE1-39FB-4EBE-B0FA-0F9E6FE371BD}"/>
              </a:ext>
            </a:extLst>
          </p:cNvPr>
          <p:cNvSpPr/>
          <p:nvPr/>
        </p:nvSpPr>
        <p:spPr>
          <a:xfrm>
            <a:off x="0"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A68E094-8AD5-4372-B518-0318364AA859}"/>
              </a:ext>
            </a:extLst>
          </p:cNvPr>
          <p:cNvSpPr/>
          <p:nvPr/>
        </p:nvSpPr>
        <p:spPr>
          <a:xfrm>
            <a:off x="1377245" y="673100"/>
            <a:ext cx="274319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80DB6-92A6-47AF-828F-A3DCF8D15FC2}"/>
              </a:ext>
            </a:extLst>
          </p:cNvPr>
          <p:cNvSpPr/>
          <p:nvPr/>
        </p:nvSpPr>
        <p:spPr>
          <a:xfrm>
            <a:off x="1986845" y="1441450"/>
            <a:ext cx="3188405"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E080D42-BA1F-4B8D-B79B-D667A4EA3932}"/>
              </a:ext>
            </a:extLst>
          </p:cNvPr>
          <p:cNvSpPr/>
          <p:nvPr/>
        </p:nvSpPr>
        <p:spPr>
          <a:xfrm>
            <a:off x="10943273" y="673100"/>
            <a:ext cx="417689"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37B9F90-28C8-4303-8F9D-B9180F812004}"/>
              </a:ext>
            </a:extLst>
          </p:cNvPr>
          <p:cNvSpPr/>
          <p:nvPr/>
        </p:nvSpPr>
        <p:spPr>
          <a:xfrm>
            <a:off x="1986845"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A111618-2AB7-4A3B-BD52-A3CDD23EB17D}"/>
              </a:ext>
            </a:extLst>
          </p:cNvPr>
          <p:cNvSpPr/>
          <p:nvPr/>
        </p:nvSpPr>
        <p:spPr>
          <a:xfrm>
            <a:off x="402413" y="673100"/>
            <a:ext cx="974832" cy="4000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7D6301D-CC71-4B43-873D-A5FFB4375A57}"/>
              </a:ext>
            </a:extLst>
          </p:cNvPr>
          <p:cNvSpPr/>
          <p:nvPr/>
        </p:nvSpPr>
        <p:spPr>
          <a:xfrm>
            <a:off x="6758870" y="2603500"/>
            <a:ext cx="1848556" cy="10541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F6763AB-4CBC-4F09-B2D5-DC32E1C169C7}"/>
              </a:ext>
            </a:extLst>
          </p:cNvPr>
          <p:cNvSpPr/>
          <p:nvPr/>
        </p:nvSpPr>
        <p:spPr>
          <a:xfrm>
            <a:off x="0" y="4032250"/>
            <a:ext cx="1377245" cy="24483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815757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EA33BC-60D5-4F89-A6CC-DAC856513F30}"/>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111652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3D3ADA-F6DC-4715-9E3C-25A7F8D7389D}"/>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9562578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85B924-B4F3-4328-B7D6-CCB432104E64}"/>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7012146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A9EFE4-C6DB-4F10-BD4F-F84BC5865A8E}"/>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9659540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894D72-6B45-4BEE-B752-8437DDD08135}"/>
              </a:ext>
            </a:extLst>
          </p:cNvPr>
          <p:cNvPicPr>
            <a:picLocks noChangeAspect="1"/>
          </p:cNvPicPr>
          <p:nvPr/>
        </p:nvPicPr>
        <p:blipFill>
          <a:blip r:embed="rId3"/>
          <a:stretch>
            <a:fillRect/>
          </a:stretch>
        </p:blipFill>
        <p:spPr>
          <a:xfrm>
            <a:off x="0" y="1269"/>
            <a:ext cx="12192000" cy="685546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13031540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1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6"/>
              <a:extLst>
                <a:ext uri="{FF2B5EF4-FFF2-40B4-BE49-F238E27FC236}">
                  <a16:creationId xmlns:a16="http://schemas.microsoft.com/office/drawing/2014/main" id="{E6CBCDDF-0D48-43CB-A692-0AAAE08060A3}"/>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4" name="Picture 13">
              <a:hlinkClick r:id="rId6"/>
              <a:extLst>
                <a:ext uri="{FF2B5EF4-FFF2-40B4-BE49-F238E27FC236}">
                  <a16:creationId xmlns:a16="http://schemas.microsoft.com/office/drawing/2014/main" id="{D7A73816-D479-4D53-9F51-A37AC572DBC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1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2" name="Group 11">
            <a:extLst>
              <a:ext uri="{FF2B5EF4-FFF2-40B4-BE49-F238E27FC236}">
                <a16:creationId xmlns:a16="http://schemas.microsoft.com/office/drawing/2014/main" id="{DD06DBEC-6B4A-4CCC-B182-E1FA77D4F56F}"/>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E6CBCDDF-0D48-43CB-A692-0AAAE08060A3}"/>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D7A73816-D479-4D53-9F51-A37AC572DBC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53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708CD916-327B-4540-A3E4-CE3C72626757}"/>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8222C24-7500-4BDA-AE08-03239BB49AE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5" name="Picture 14">
              <a:hlinkClick r:id="rId5"/>
              <a:extLst>
                <a:ext uri="{FF2B5EF4-FFF2-40B4-BE49-F238E27FC236}">
                  <a16:creationId xmlns:a16="http://schemas.microsoft.com/office/drawing/2014/main" id="{3F18B2BE-F724-439C-9422-2B57BAC15B0E}"/>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2831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08865" y="2646655"/>
            <a:ext cx="1293982" cy="1564689"/>
          </a:xfrm>
          <a:prstGeom prst="rect">
            <a:avLst/>
          </a:prstGeom>
        </p:spPr>
      </p:pic>
    </p:spTree>
    <p:extLst>
      <p:ext uri="{BB962C8B-B14F-4D97-AF65-F5344CB8AC3E}">
        <p14:creationId xmlns:p14="http://schemas.microsoft.com/office/powerpoint/2010/main" val="3425422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AA7421A-9ABE-4EE4-B0E0-E852441478C9}"/>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B2904EE4-28E2-44FE-8254-A2A65ADC739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32111CB-72B3-46F4-9963-FA2B5732C03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13295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D4158F1B-BAA1-428D-A18E-62FC92378EE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94191521-463F-46F5-9969-320039AE2B16}"/>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2A5590CE-6D68-4E8A-8B92-50FA4FD2DB9C}"/>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2149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D04EBE-6C92-446B-A7FB-3792AE6FCC83}"/>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4F051D12-4F1C-49BB-A046-682E56C8F491}"/>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B87538B7-3568-434B-A8B6-FA1BE0E689A5}"/>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660474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1B5AE1B0-6E08-4BD8-84E2-C846186BF2C8}"/>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05F3A527-4B75-4E17-8544-74076EEB148F}"/>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A7F2CF89-5DF2-4739-8222-980C50ABF45B}"/>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5537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B01D6298-26F9-4761-9045-441E1A91D642}"/>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A9E41C3C-237D-4FEC-A5FE-C9A730C4AC5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4" name="Picture 13">
              <a:hlinkClick r:id="rId5"/>
              <a:extLst>
                <a:ext uri="{FF2B5EF4-FFF2-40B4-BE49-F238E27FC236}">
                  <a16:creationId xmlns:a16="http://schemas.microsoft.com/office/drawing/2014/main" id="{E9A1E7A4-13C3-413B-B042-6286E7CCB6F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2137982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1" r="3506" b="2965"/>
          <a:stretch/>
        </p:blipFill>
        <p:spPr>
          <a:xfrm>
            <a:off x="-1" y="2788"/>
            <a:ext cx="12192001" cy="685521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39988"/>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415680"/>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spTree>
    <p:extLst>
      <p:ext uri="{BB962C8B-B14F-4D97-AF65-F5344CB8AC3E}">
        <p14:creationId xmlns:p14="http://schemas.microsoft.com/office/powerpoint/2010/main" val="346799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2217464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974050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804299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4"/>
              <a:extLst>
                <a:ext uri="{FF2B5EF4-FFF2-40B4-BE49-F238E27FC236}">
                  <a16:creationId xmlns:a16="http://schemas.microsoft.com/office/drawing/2014/main" id="{2065A3EB-42B0-4267-B9F3-66CFC7A86726}"/>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4" name="Picture 13">
              <a:hlinkClick r:id="rId4"/>
              <a:extLst>
                <a:ext uri="{FF2B5EF4-FFF2-40B4-BE49-F238E27FC236}">
                  <a16:creationId xmlns:a16="http://schemas.microsoft.com/office/drawing/2014/main" id="{25D1A98D-F4A4-414B-953E-138747D3E03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767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630506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7312018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76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743092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8770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628307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570563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5210944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4"/>
              <a:extLst>
                <a:ext uri="{FF2B5EF4-FFF2-40B4-BE49-F238E27FC236}">
                  <a16:creationId xmlns:a16="http://schemas.microsoft.com/office/drawing/2014/main" id="{36139C97-DA87-4215-9009-34AD479694BB}"/>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2" name="Picture 11">
              <a:hlinkClick r:id="rId4"/>
              <a:extLst>
                <a:ext uri="{FF2B5EF4-FFF2-40B4-BE49-F238E27FC236}">
                  <a16:creationId xmlns:a16="http://schemas.microsoft.com/office/drawing/2014/main" id="{AD665337-DEFE-4EBA-A06B-FF850599145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0396914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BEB2D37-1CDD-48FE-9405-D203D39C73BC}"/>
              </a:ext>
            </a:extLst>
          </p:cNvPr>
          <p:cNvGrpSpPr/>
          <p:nvPr/>
        </p:nvGrpSpPr>
        <p:grpSpPr>
          <a:xfrm>
            <a:off x="11290646" y="6569923"/>
            <a:ext cx="831504" cy="252506"/>
            <a:chOff x="668108" y="601336"/>
            <a:chExt cx="3665655" cy="1113164"/>
          </a:xfrm>
          <a:solidFill>
            <a:sysClr val="window" lastClr="FFFFFF"/>
          </a:solidFill>
        </p:grpSpPr>
        <p:pic>
          <p:nvPicPr>
            <p:cNvPr id="13" name="Picture 12">
              <a:hlinkClick r:id="rId3"/>
              <a:extLst>
                <a:ext uri="{FF2B5EF4-FFF2-40B4-BE49-F238E27FC236}">
                  <a16:creationId xmlns:a16="http://schemas.microsoft.com/office/drawing/2014/main" id="{2065A3EB-42B0-4267-B9F3-66CFC7A86726}"/>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4" name="Picture 13">
              <a:hlinkClick r:id="rId3"/>
              <a:extLst>
                <a:ext uri="{FF2B5EF4-FFF2-40B4-BE49-F238E27FC236}">
                  <a16:creationId xmlns:a16="http://schemas.microsoft.com/office/drawing/2014/main" id="{25D1A98D-F4A4-414B-953E-138747D3E03F}"/>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15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6"/>
              <a:extLst>
                <a:ext uri="{FF2B5EF4-FFF2-40B4-BE49-F238E27FC236}">
                  <a16:creationId xmlns:a16="http://schemas.microsoft.com/office/drawing/2014/main" id="{36139C97-DA87-4215-9009-34AD479694BB}"/>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2" name="Picture 11">
              <a:hlinkClick r:id="rId6"/>
              <a:extLst>
                <a:ext uri="{FF2B5EF4-FFF2-40B4-BE49-F238E27FC236}">
                  <a16:creationId xmlns:a16="http://schemas.microsoft.com/office/drawing/2014/main" id="{AD665337-DEFE-4EBA-A06B-FF850599145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90401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53D8FE57-7D70-4296-9583-8102770E28C6}"/>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8DA7C5BB-C636-433B-A033-4AE9DF0258AE}"/>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5D8DEBF-542A-4B3C-BFAD-7CF148CEE18F}"/>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668275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0DA11198-81EE-4B81-BBD4-2B04D5FAD663}"/>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3BD63C81-0CC0-4B22-A1C9-D97020075F8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AD7E6DD5-263C-458E-ABE7-01CDE3F5B247}"/>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20496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F4305B99-6DAD-4B6F-9A51-9F13FCE1C271}"/>
              </a:ext>
            </a:extLst>
          </p:cNvPr>
          <p:cNvGrpSpPr/>
          <p:nvPr/>
        </p:nvGrpSpPr>
        <p:grpSpPr>
          <a:xfrm>
            <a:off x="11290646" y="6569923"/>
            <a:ext cx="831504" cy="252506"/>
            <a:chOff x="668108" y="601336"/>
            <a:chExt cx="3665655" cy="1113164"/>
          </a:xfrm>
          <a:solidFill>
            <a:sysClr val="window" lastClr="FFFFFF"/>
          </a:solidFill>
        </p:grpSpPr>
        <p:pic>
          <p:nvPicPr>
            <p:cNvPr id="14" name="Picture 13">
              <a:hlinkClick r:id="rId4"/>
              <a:extLst>
                <a:ext uri="{FF2B5EF4-FFF2-40B4-BE49-F238E27FC236}">
                  <a16:creationId xmlns:a16="http://schemas.microsoft.com/office/drawing/2014/main" id="{AA3B81B5-07D5-44BC-B278-8B7D6E924FFC}"/>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5" name="Picture 14">
              <a:hlinkClick r:id="rId4"/>
              <a:extLst>
                <a:ext uri="{FF2B5EF4-FFF2-40B4-BE49-F238E27FC236}">
                  <a16:creationId xmlns:a16="http://schemas.microsoft.com/office/drawing/2014/main" id="{C875D07E-3C06-43F6-B302-DC7D0EB84ABD}"/>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190952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5396123" y="2810848"/>
            <a:ext cx="914400" cy="914400"/>
          </a:xfrm>
          <a:prstGeom prst="rect">
            <a:avLst/>
          </a:prstGeom>
        </p:spPr>
      </p:pic>
    </p:spTree>
    <p:extLst>
      <p:ext uri="{BB962C8B-B14F-4D97-AF65-F5344CB8AC3E}">
        <p14:creationId xmlns:p14="http://schemas.microsoft.com/office/powerpoint/2010/main" val="32150238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98405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5615837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40224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6"/>
          <a:stretch>
            <a:fillRect/>
          </a:stretch>
        </p:blipFill>
        <p:spPr>
          <a:xfrm>
            <a:off x="0" y="511"/>
            <a:ext cx="12192000" cy="6856977"/>
          </a:xfrm>
          <a:prstGeom prst="rect">
            <a:avLst/>
          </a:prstGeom>
        </p:spPr>
      </p:pic>
    </p:spTree>
    <p:extLst>
      <p:ext uri="{BB962C8B-B14F-4D97-AF65-F5344CB8AC3E}">
        <p14:creationId xmlns:p14="http://schemas.microsoft.com/office/powerpoint/2010/main" val="9938442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593572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D21F363E-2159-4E8C-A35E-D816AB445345}"/>
              </a:ext>
            </a:extLst>
          </p:cNvPr>
          <p:cNvGrpSpPr/>
          <p:nvPr/>
        </p:nvGrpSpPr>
        <p:grpSpPr>
          <a:xfrm>
            <a:off x="11290646" y="6569923"/>
            <a:ext cx="831504" cy="252506"/>
            <a:chOff x="668108" y="601336"/>
            <a:chExt cx="3665655" cy="1113164"/>
          </a:xfrm>
          <a:solidFill>
            <a:sysClr val="window" lastClr="FFFFFF"/>
          </a:solidFill>
        </p:grpSpPr>
        <p:pic>
          <p:nvPicPr>
            <p:cNvPr id="21" name="Picture 20">
              <a:hlinkClick r:id="rId10"/>
              <a:extLst>
                <a:ext uri="{FF2B5EF4-FFF2-40B4-BE49-F238E27FC236}">
                  <a16:creationId xmlns:a16="http://schemas.microsoft.com/office/drawing/2014/main" id="{80F9C3A5-1211-4C32-B0AC-0BD0179E6C68}"/>
                </a:ext>
              </a:extLst>
            </p:cNvPr>
            <p:cNvPicPr>
              <a:picLocks noChangeAspect="1"/>
            </p:cNvPicPr>
            <p:nvPr/>
          </p:nvPicPr>
          <p:blipFill>
            <a:blip r:embed="rId11"/>
            <a:stretch>
              <a:fillRect/>
            </a:stretch>
          </p:blipFill>
          <p:spPr>
            <a:xfrm>
              <a:off x="668108" y="601336"/>
              <a:ext cx="1151971" cy="1113164"/>
            </a:xfrm>
            <a:prstGeom prst="rect">
              <a:avLst/>
            </a:prstGeom>
            <a:grpFill/>
          </p:spPr>
        </p:pic>
        <p:pic>
          <p:nvPicPr>
            <p:cNvPr id="22" name="Picture 21">
              <a:hlinkClick r:id="rId10"/>
              <a:extLst>
                <a:ext uri="{FF2B5EF4-FFF2-40B4-BE49-F238E27FC236}">
                  <a16:creationId xmlns:a16="http://schemas.microsoft.com/office/drawing/2014/main" id="{74A40445-1A17-4A43-A980-9A03379248DB}"/>
                </a:ext>
              </a:extLst>
            </p:cNvPr>
            <p:cNvPicPr>
              <a:picLocks noChangeAspect="1"/>
            </p:cNvPicPr>
            <p:nvPr/>
          </p:nvPicPr>
          <p:blipFill>
            <a:blip r:embed="rId12"/>
            <a:stretch>
              <a:fillRect/>
            </a:stretch>
          </p:blipFill>
          <p:spPr>
            <a:xfrm>
              <a:off x="1465541" y="1130596"/>
              <a:ext cx="2868222" cy="355013"/>
            </a:xfrm>
            <a:prstGeom prst="rect">
              <a:avLst/>
            </a:prstGeom>
            <a:grpFill/>
          </p:spPr>
        </p:pic>
      </p:gr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3550446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50375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2149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2326625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9516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20EB187-900F-4AF5-813B-101456D9FD3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pic>
        <p:nvPicPr>
          <p:cNvPr id="1032" name="Picture 8" descr="https://lh3.googleusercontent.com/2N5FS2ib8I3GFbzTeslTY2oxy81Xy_5vRV9kdQ5UUNCLsv-K2juK84p84-CSQX9OYIPOvWssyYSYKb-DZpz8BNljnyNy5rima5zsORGRJYpqlXUg4Sz-OX7hAIH_GtLtZuzyzwromS9VWaJhx_XIbkuH0gGYzE-T957kQg7xR5WBjZpKA64aznK2DEfcFMFqmwl2jFR5Bhhj8duTQmnZWxjpBFeCGLHv-PfgDFsL5d6On6lUwikRCFOMYiSAvkfKLPulYnasxa4wgGyt1nUUZHcu1kJP7N__zDkoXucKBz0q4os9_wPEIEwoRdo05ooQVlzZKmALKzMJCUfxkyD9LGto_Ns67AW9ym1HRfQt4aDcMpALK-3urYSDh0cbxeQyr8jep8Vkloh3xrAf_IrqdVE9EUiAxgsZ0Ktud-VACiz0hbGuFSLu12g78W-NHp18Rzh6SJFA2QkWq6aEee5SA1gYnzUDyY3MUMSiiN_9KNUAiatyc6l3dgL7VO9MS2XJJR18NVcUC_dM1KUE-oaucriek-uBqwxbd9RpMgUCq3F11RY52nfTqwuxVl3Sd3gFcuXwU2QEnrONcNxAVJneZ8noeLHsjjPcQKeAz7Kj_RxB54RBMcleh-F23ITNp84AAcsVmxyIizyj67WQm0hMjzoZ4MTcczsI=w1080-h608-no">
            <a:extLst>
              <a:ext uri="{FF2B5EF4-FFF2-40B4-BE49-F238E27FC236}">
                <a16:creationId xmlns:a16="http://schemas.microsoft.com/office/drawing/2014/main" id="{33D151DA-84B7-40E9-AF58-8F80E1395EF6}"/>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brightnessContrast bright="-50000" contrast="-10000"/>
                    </a14:imgEffect>
                  </a14:imgLayer>
                </a14:imgProps>
              </a:ext>
              <a:ext uri="{28A0092B-C50C-407E-A947-70E740481C1C}">
                <a14:useLocalDpi xmlns:a14="http://schemas.microsoft.com/office/drawing/2010/main" val="0"/>
              </a:ext>
            </a:extLst>
          </a:blip>
          <a:srcRect/>
          <a:stretch>
            <a:fillRect/>
          </a:stretch>
        </p:blipFill>
        <p:spPr bwMode="auto">
          <a:xfrm>
            <a:off x="5013" y="0"/>
            <a:ext cx="12181974"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a:extLst>
              <a:ext uri="{FF2B5EF4-FFF2-40B4-BE49-F238E27FC236}">
                <a16:creationId xmlns:a16="http://schemas.microsoft.com/office/drawing/2014/main" id="{624D17C8-E9C2-48A4-AA36-D7048A6CCC4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5051F9-DE2E-413C-A315-FE3BDCE41A09}"/>
              </a:ext>
            </a:extLst>
          </p:cNvPr>
          <p:cNvSpPr>
            <a:spLocks noGrp="1"/>
          </p:cNvSpPr>
          <p:nvPr>
            <p:ph type="title"/>
          </p:nvPr>
        </p:nvSpPr>
        <p:spPr>
          <a:xfrm>
            <a:off x="4387349" y="1200152"/>
            <a:ext cx="6897171" cy="4457696"/>
          </a:xfrm>
        </p:spPr>
        <p:txBody>
          <a:bodyPr vert="horz" lIns="91440" tIns="45720" rIns="91440" bIns="45720" rtlCol="0" anchor="ctr">
            <a:normAutofit/>
          </a:bodyPr>
          <a:lstStyle/>
          <a:p>
            <a:r>
              <a:rPr lang="en-US" sz="9600" kern="1200" dirty="0">
                <a:solidFill>
                  <a:srgbClr val="FFFFFF"/>
                </a:solidFill>
                <a:latin typeface="Segoe UI Light" panose="020B0502040204020203" pitchFamily="34" charset="0"/>
                <a:cs typeface="Segoe UI Light" panose="020B0502040204020203" pitchFamily="34" charset="0"/>
              </a:rPr>
              <a:t>DEMO 2</a:t>
            </a:r>
          </a:p>
        </p:txBody>
      </p:sp>
      <p:sp>
        <p:nvSpPr>
          <p:cNvPr id="4" name="Content Placeholder 2">
            <a:extLst>
              <a:ext uri="{FF2B5EF4-FFF2-40B4-BE49-F238E27FC236}">
                <a16:creationId xmlns:a16="http://schemas.microsoft.com/office/drawing/2014/main" id="{5861C861-75F5-49F2-9567-B1AB524CCD4A}"/>
              </a:ext>
            </a:extLst>
          </p:cNvPr>
          <p:cNvSpPr>
            <a:spLocks noGrp="1"/>
          </p:cNvSpPr>
          <p:nvPr>
            <p:ph sz="half" idx="1"/>
          </p:nvPr>
        </p:nvSpPr>
        <p:spPr>
          <a:xfrm>
            <a:off x="1" y="1200152"/>
            <a:ext cx="3666498" cy="4457696"/>
          </a:xfrm>
        </p:spPr>
        <p:txBody>
          <a:bodyPr vert="horz" lIns="91440" tIns="45720" rIns="91440" bIns="45720" rtlCol="0" anchor="ctr">
            <a:normAutofit/>
          </a:bodyPr>
          <a:lstStyle/>
          <a:p>
            <a:pPr marL="0" indent="0" algn="r">
              <a:buNone/>
            </a:pPr>
            <a:r>
              <a:rPr lang="en-US" sz="2400" dirty="0">
                <a:solidFill>
                  <a:srgbClr val="FFFFFF"/>
                </a:solidFill>
                <a:latin typeface="Segoe UI Light" panose="020B0502040204020203" pitchFamily="34" charset="0"/>
                <a:cs typeface="Segoe UI Light" panose="020B0502040204020203" pitchFamily="34" charset="0"/>
              </a:rPr>
              <a:t>Power BI Bookmarks</a:t>
            </a:r>
            <a:endParaRPr lang="en-US" sz="2400" kern="1200" dirty="0">
              <a:solidFill>
                <a:srgbClr val="FFFFFF"/>
              </a:solidFill>
              <a:latin typeface="Segoe UI Light" panose="020B0502040204020203" pitchFamily="34" charset="0"/>
              <a:cs typeface="Segoe UI Light" panose="020B0502040204020203" pitchFamily="34" charset="0"/>
            </a:endParaRPr>
          </a:p>
        </p:txBody>
      </p:sp>
      <p:sp>
        <p:nvSpPr>
          <p:cNvPr id="20" name="Parallelogram 1">
            <a:extLst>
              <a:ext uri="{FF2B5EF4-FFF2-40B4-BE49-F238E27FC236}">
                <a16:creationId xmlns:a16="http://schemas.microsoft.com/office/drawing/2014/main" id="{04456B23-F804-4E8F-A3C3-E7BDC8696E0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764E240E-5C5D-4708-B027-A5B7D0136E62}"/>
              </a:ext>
            </a:extLst>
          </p:cNvPr>
          <p:cNvGrpSpPr/>
          <p:nvPr/>
        </p:nvGrpSpPr>
        <p:grpSpPr>
          <a:xfrm>
            <a:off x="11290646" y="6569923"/>
            <a:ext cx="831504" cy="252506"/>
            <a:chOff x="668108" y="601336"/>
            <a:chExt cx="3665655" cy="1113164"/>
          </a:xfrm>
          <a:solidFill>
            <a:schemeClr val="bg1"/>
          </a:solidFill>
        </p:grpSpPr>
        <p:pic>
          <p:nvPicPr>
            <p:cNvPr id="22" name="Picture 21">
              <a:hlinkClick r:id="rId5"/>
              <a:extLst>
                <a:ext uri="{FF2B5EF4-FFF2-40B4-BE49-F238E27FC236}">
                  <a16:creationId xmlns:a16="http://schemas.microsoft.com/office/drawing/2014/main" id="{A960E5DA-E2EC-4953-9E82-634253C4282A}"/>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3" name="Picture 22">
              <a:hlinkClick r:id="rId5"/>
              <a:extLst>
                <a:ext uri="{FF2B5EF4-FFF2-40B4-BE49-F238E27FC236}">
                  <a16:creationId xmlns:a16="http://schemas.microsoft.com/office/drawing/2014/main" id="{252CA145-CCFB-4096-B81D-79D3E73D950A}"/>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565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42015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13" name="Graphic 12" descr="Line Arrow: Clockwise curve">
            <a:extLst>
              <a:ext uri="{FF2B5EF4-FFF2-40B4-BE49-F238E27FC236}">
                <a16:creationId xmlns:a16="http://schemas.microsoft.com/office/drawing/2014/main" id="{F6F97A1D-016F-41A7-87A0-6C36396389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a:off x="671865" y="3995126"/>
            <a:ext cx="914400" cy="914400"/>
          </a:xfrm>
          <a:prstGeom prst="rect">
            <a:avLst/>
          </a:prstGeom>
        </p:spPr>
      </p:pic>
      <p:sp>
        <p:nvSpPr>
          <p:cNvPr id="14" name="Rectangle 13">
            <a:extLst>
              <a:ext uri="{FF2B5EF4-FFF2-40B4-BE49-F238E27FC236}">
                <a16:creationId xmlns:a16="http://schemas.microsoft.com/office/drawing/2014/main" id="{B7BA2D95-7726-4466-9A9F-49B85BC44CD5}"/>
              </a:ext>
            </a:extLst>
          </p:cNvPr>
          <p:cNvSpPr/>
          <p:nvPr/>
        </p:nvSpPr>
        <p:spPr>
          <a:xfrm>
            <a:off x="1873972" y="1435261"/>
            <a:ext cx="2790626"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2139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86C3837F-5DF1-4194-A23B-DC8A21293A32}"/>
              </a:ext>
            </a:extLst>
          </p:cNvPr>
          <p:cNvSpPr/>
          <p:nvPr/>
        </p:nvSpPr>
        <p:spPr>
          <a:xfrm>
            <a:off x="2034382" y="1435261"/>
            <a:ext cx="3236118" cy="3472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Line Arrow: Clockwise curve">
            <a:extLst>
              <a:ext uri="{FF2B5EF4-FFF2-40B4-BE49-F238E27FC236}">
                <a16:creationId xmlns:a16="http://schemas.microsoft.com/office/drawing/2014/main" id="{B4A6DB2D-49A8-4C05-AB03-B3F40F65AB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flipV="1">
            <a:off x="3538141" y="1997293"/>
            <a:ext cx="914400" cy="914400"/>
          </a:xfrm>
          <a:prstGeom prst="rect">
            <a:avLst/>
          </a:prstGeom>
        </p:spPr>
      </p:pic>
    </p:spTree>
    <p:extLst>
      <p:ext uri="{BB962C8B-B14F-4D97-AF65-F5344CB8AC3E}">
        <p14:creationId xmlns:p14="http://schemas.microsoft.com/office/powerpoint/2010/main" val="3933968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778145BA-FEB4-4BE3-BDAB-4E3C48381DF4}"/>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6"/>
              <a:extLst>
                <a:ext uri="{FF2B5EF4-FFF2-40B4-BE49-F238E27FC236}">
                  <a16:creationId xmlns:a16="http://schemas.microsoft.com/office/drawing/2014/main" id="{F242A30B-1607-4723-A492-FE2406243B3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31" name="Picture 30">
              <a:hlinkClick r:id="rId6"/>
              <a:extLst>
                <a:ext uri="{FF2B5EF4-FFF2-40B4-BE49-F238E27FC236}">
                  <a16:creationId xmlns:a16="http://schemas.microsoft.com/office/drawing/2014/main" id="{EABE03F6-9846-4DB4-922A-0E075108F16B}"/>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58239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10" name="Group 9">
            <a:extLst>
              <a:ext uri="{FF2B5EF4-FFF2-40B4-BE49-F238E27FC236}">
                <a16:creationId xmlns:a16="http://schemas.microsoft.com/office/drawing/2014/main" id="{1A52DA05-8ED1-4079-A8E5-72358E51F061}"/>
              </a:ext>
            </a:extLst>
          </p:cNvPr>
          <p:cNvGrpSpPr/>
          <p:nvPr/>
        </p:nvGrpSpPr>
        <p:grpSpPr>
          <a:xfrm>
            <a:off x="11290646" y="6569923"/>
            <a:ext cx="831504" cy="252506"/>
            <a:chOff x="668108" y="601336"/>
            <a:chExt cx="3665655" cy="1113164"/>
          </a:xfrm>
          <a:solidFill>
            <a:sysClr val="window" lastClr="FFFFFF"/>
          </a:solidFill>
        </p:grpSpPr>
        <p:pic>
          <p:nvPicPr>
            <p:cNvPr id="11" name="Picture 10">
              <a:hlinkClick r:id="rId5"/>
              <a:extLst>
                <a:ext uri="{FF2B5EF4-FFF2-40B4-BE49-F238E27FC236}">
                  <a16:creationId xmlns:a16="http://schemas.microsoft.com/office/drawing/2014/main" id="{36139C97-DA87-4215-9009-34AD479694BB}"/>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2" name="Picture 11">
              <a:hlinkClick r:id="rId5"/>
              <a:extLst>
                <a:ext uri="{FF2B5EF4-FFF2-40B4-BE49-F238E27FC236}">
                  <a16:creationId xmlns:a16="http://schemas.microsoft.com/office/drawing/2014/main" id="{AD665337-DEFE-4EBA-A06B-FF850599145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A3AA84F-0ED4-449C-A895-FBFBA525B5AE}"/>
              </a:ext>
            </a:extLst>
          </p:cNvPr>
          <p:cNvSpPr/>
          <p:nvPr/>
        </p:nvSpPr>
        <p:spPr>
          <a:xfrm>
            <a:off x="9167149" y="520861"/>
            <a:ext cx="753140" cy="74596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3624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7"/>
          <a:stretch>
            <a:fillRect/>
          </a:stretch>
        </p:blipFill>
        <p:spPr>
          <a:xfrm>
            <a:off x="50006" y="730918"/>
            <a:ext cx="434248" cy="519874"/>
          </a:xfrm>
          <a:prstGeom prst="rect">
            <a:avLst/>
          </a:prstGeom>
        </p:spPr>
      </p:pic>
      <p:pic>
        <p:nvPicPr>
          <p:cNvPr id="14" name="Picture 13">
            <a:extLst>
              <a:ext uri="{FF2B5EF4-FFF2-40B4-BE49-F238E27FC236}">
                <a16:creationId xmlns:a16="http://schemas.microsoft.com/office/drawing/2014/main" id="{DC311839-02DB-45CF-B684-38DF434CF3BA}"/>
              </a:ext>
            </a:extLst>
          </p:cNvPr>
          <p:cNvPicPr>
            <a:picLocks noChangeAspect="1"/>
          </p:cNvPicPr>
          <p:nvPr/>
        </p:nvPicPr>
        <p:blipFill>
          <a:blip r:embed="rId8"/>
          <a:stretch>
            <a:fillRect/>
          </a:stretch>
        </p:blipFill>
        <p:spPr>
          <a:xfrm>
            <a:off x="2309812" y="1943100"/>
            <a:ext cx="7572375" cy="2971800"/>
          </a:xfrm>
          <a:prstGeom prst="rect">
            <a:avLst/>
          </a:prstGeom>
        </p:spPr>
      </p:pic>
      <p:sp>
        <p:nvSpPr>
          <p:cNvPr id="18" name="Rectangle 17">
            <a:extLst>
              <a:ext uri="{FF2B5EF4-FFF2-40B4-BE49-F238E27FC236}">
                <a16:creationId xmlns:a16="http://schemas.microsoft.com/office/drawing/2014/main" id="{002872F4-F6BD-4949-B738-A74FA68D731D}"/>
              </a:ext>
            </a:extLst>
          </p:cNvPr>
          <p:cNvSpPr/>
          <p:nvPr/>
        </p:nvSpPr>
        <p:spPr>
          <a:xfrm>
            <a:off x="2340648" y="3040380"/>
            <a:ext cx="1446835"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DA8AB239-BE55-4841-B3CD-A10ABDFC32C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99508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A145B5-4E24-489A-AF81-5062A8484A90}"/>
              </a:ext>
            </a:extLst>
          </p:cNvPr>
          <p:cNvPicPr>
            <a:picLocks noChangeAspect="1"/>
          </p:cNvPicPr>
          <p:nvPr/>
        </p:nvPicPr>
        <p:blipFill>
          <a:blip r:embed="rId3"/>
          <a:stretch>
            <a:fillRect/>
          </a:stretch>
        </p:blipFill>
        <p:spPr>
          <a:xfrm>
            <a:off x="16213" y="0"/>
            <a:ext cx="1215957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317102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2AA50A-2095-4967-BA58-A1378EDBCD9F}"/>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2" name="Picture 11">
            <a:extLst>
              <a:ext uri="{FF2B5EF4-FFF2-40B4-BE49-F238E27FC236}">
                <a16:creationId xmlns:a16="http://schemas.microsoft.com/office/drawing/2014/main" id="{0409B351-CC0F-42E7-BD41-3C95C18CCBCD}"/>
              </a:ext>
            </a:extLst>
          </p:cNvPr>
          <p:cNvPicPr>
            <a:picLocks noChangeAspect="1"/>
          </p:cNvPicPr>
          <p:nvPr/>
        </p:nvPicPr>
        <p:blipFill>
          <a:blip r:embed="rId4"/>
          <a:stretch>
            <a:fillRect/>
          </a:stretch>
        </p:blipFill>
        <p:spPr>
          <a:xfrm>
            <a:off x="2309812" y="1943100"/>
            <a:ext cx="7572375" cy="29718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15" name="Picture 14">
            <a:extLst>
              <a:ext uri="{FF2B5EF4-FFF2-40B4-BE49-F238E27FC236}">
                <a16:creationId xmlns:a16="http://schemas.microsoft.com/office/drawing/2014/main" id="{FCD5AE45-DF95-42AA-8D71-A4B7D7401F77}"/>
              </a:ext>
            </a:extLst>
          </p:cNvPr>
          <p:cNvPicPr>
            <a:picLocks noChangeAspect="1"/>
          </p:cNvPicPr>
          <p:nvPr/>
        </p:nvPicPr>
        <p:blipFill>
          <a:blip r:embed="rId8"/>
          <a:stretch>
            <a:fillRect/>
          </a:stretch>
        </p:blipFill>
        <p:spPr>
          <a:xfrm>
            <a:off x="50006" y="730918"/>
            <a:ext cx="434248" cy="519874"/>
          </a:xfrm>
          <a:prstGeom prst="rect">
            <a:avLst/>
          </a:prstGeom>
        </p:spPr>
      </p:pic>
      <p:sp>
        <p:nvSpPr>
          <p:cNvPr id="19" name="Rectangle 18">
            <a:extLst>
              <a:ext uri="{FF2B5EF4-FFF2-40B4-BE49-F238E27FC236}">
                <a16:creationId xmlns:a16="http://schemas.microsoft.com/office/drawing/2014/main" id="{364F57DB-9995-4981-95DF-A78A940DAAE4}"/>
              </a:ext>
            </a:extLst>
          </p:cNvPr>
          <p:cNvSpPr/>
          <p:nvPr/>
        </p:nvSpPr>
        <p:spPr>
          <a:xfrm>
            <a:off x="3278198" y="2461645"/>
            <a:ext cx="3296222" cy="3124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35D7BCBD-BB4F-4FC8-AF54-441F5107C52E}"/>
              </a:ext>
            </a:extLst>
          </p:cNvPr>
          <p:cNvPicPr>
            <a:picLocks noChangeAspect="1"/>
          </p:cNvPicPr>
          <p:nvPr/>
        </p:nvPicPr>
        <p:blipFill>
          <a:blip r:embed="rId9"/>
          <a:stretch>
            <a:fillRect/>
          </a:stretch>
        </p:blipFill>
        <p:spPr>
          <a:xfrm>
            <a:off x="67706" y="34925"/>
            <a:ext cx="398847" cy="607475"/>
          </a:xfrm>
          <a:prstGeom prst="rect">
            <a:avLst/>
          </a:prstGeom>
        </p:spPr>
      </p:pic>
    </p:spTree>
    <p:extLst>
      <p:ext uri="{BB962C8B-B14F-4D97-AF65-F5344CB8AC3E}">
        <p14:creationId xmlns:p14="http://schemas.microsoft.com/office/powerpoint/2010/main" val="31477920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D9AE601-A540-40A3-A8E7-4BF1F72E60FA}"/>
              </a:ext>
            </a:extLst>
          </p:cNvPr>
          <p:cNvPicPr>
            <a:picLocks noChangeAspect="1"/>
          </p:cNvPicPr>
          <p:nvPr/>
        </p:nvPicPr>
        <p:blipFill rotWithShape="1">
          <a:blip r:embed="rId4"/>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C8576F11-3740-4503-BEDA-2421E66C4469}"/>
              </a:ext>
            </a:extLst>
          </p:cNvPr>
          <p:cNvPicPr>
            <a:picLocks noChangeAspect="1"/>
          </p:cNvPicPr>
          <p:nvPr/>
        </p:nvPicPr>
        <p:blipFill>
          <a:blip r:embed="rId8"/>
          <a:stretch>
            <a:fillRect/>
          </a:stretch>
        </p:blipFill>
        <p:spPr>
          <a:xfrm>
            <a:off x="4803742" y="2687202"/>
            <a:ext cx="2584516" cy="1483595"/>
          </a:xfrm>
          <a:prstGeom prst="rect">
            <a:avLst/>
          </a:prstGeom>
        </p:spPr>
      </p:pic>
      <p:pic>
        <p:nvPicPr>
          <p:cNvPr id="16" name="Picture 15">
            <a:extLst>
              <a:ext uri="{FF2B5EF4-FFF2-40B4-BE49-F238E27FC236}">
                <a16:creationId xmlns:a16="http://schemas.microsoft.com/office/drawing/2014/main" id="{BB2B4076-5E72-4EF2-9FFB-C7DA18505569}"/>
              </a:ext>
            </a:extLst>
          </p:cNvPr>
          <p:cNvPicPr>
            <a:picLocks noChangeAspect="1"/>
          </p:cNvPicPr>
          <p:nvPr/>
        </p:nvPicPr>
        <p:blipFill rotWithShape="1">
          <a:blip r:embed="rId9"/>
          <a:srcRect r="1194" b="1762"/>
          <a:stretch/>
        </p:blipFill>
        <p:spPr>
          <a:xfrm>
            <a:off x="0" y="3350984"/>
            <a:ext cx="4565017" cy="3521176"/>
          </a:xfrm>
          <a:prstGeom prst="rect">
            <a:avLst/>
          </a:prstGeom>
        </p:spPr>
      </p:pic>
      <p:pic>
        <p:nvPicPr>
          <p:cNvPr id="13" name="Picture 12">
            <a:extLst>
              <a:ext uri="{FF2B5EF4-FFF2-40B4-BE49-F238E27FC236}">
                <a16:creationId xmlns:a16="http://schemas.microsoft.com/office/drawing/2014/main" id="{28A6E700-71E1-4F0E-9701-10491F341A42}"/>
              </a:ext>
            </a:extLst>
          </p:cNvPr>
          <p:cNvPicPr>
            <a:picLocks noChangeAspect="1"/>
          </p:cNvPicPr>
          <p:nvPr/>
        </p:nvPicPr>
        <p:blipFill>
          <a:blip r:embed="rId10"/>
          <a:stretch>
            <a:fillRect/>
          </a:stretch>
        </p:blipFill>
        <p:spPr>
          <a:xfrm>
            <a:off x="50006" y="730918"/>
            <a:ext cx="434248" cy="519874"/>
          </a:xfrm>
          <a:prstGeom prst="rect">
            <a:avLst/>
          </a:prstGeom>
        </p:spPr>
      </p:pic>
      <p:pic>
        <p:nvPicPr>
          <p:cNvPr id="17" name="Picture 16">
            <a:extLst>
              <a:ext uri="{FF2B5EF4-FFF2-40B4-BE49-F238E27FC236}">
                <a16:creationId xmlns:a16="http://schemas.microsoft.com/office/drawing/2014/main" id="{EDB8A3E4-E63C-4B7B-BF1C-435180954CA9}"/>
              </a:ext>
            </a:extLst>
          </p:cNvPr>
          <p:cNvPicPr>
            <a:picLocks noChangeAspect="1"/>
          </p:cNvPicPr>
          <p:nvPr/>
        </p:nvPicPr>
        <p:blipFill>
          <a:blip r:embed="rId11"/>
          <a:stretch>
            <a:fillRect/>
          </a:stretch>
        </p:blipFill>
        <p:spPr>
          <a:xfrm>
            <a:off x="67706" y="34925"/>
            <a:ext cx="398847" cy="607475"/>
          </a:xfrm>
          <a:prstGeom prst="rect">
            <a:avLst/>
          </a:prstGeom>
        </p:spPr>
      </p:pic>
    </p:spTree>
    <p:extLst>
      <p:ext uri="{BB962C8B-B14F-4D97-AF65-F5344CB8AC3E}">
        <p14:creationId xmlns:p14="http://schemas.microsoft.com/office/powerpoint/2010/main" val="30525965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8C4A548-B57B-473D-B181-3EABA7008248}"/>
              </a:ext>
            </a:extLst>
          </p:cNvPr>
          <p:cNvPicPr>
            <a:picLocks noChangeAspect="1"/>
          </p:cNvPicPr>
          <p:nvPr/>
        </p:nvPicPr>
        <p:blipFill>
          <a:blip r:embed="rId4"/>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E336B089-8680-4760-85E0-C53A218C57D5}"/>
              </a:ext>
            </a:extLst>
          </p:cNvPr>
          <p:cNvPicPr>
            <a:picLocks noChangeAspect="1"/>
          </p:cNvPicPr>
          <p:nvPr/>
        </p:nvPicPr>
        <p:blipFill>
          <a:blip r:embed="rId5"/>
          <a:stretch>
            <a:fillRect/>
          </a:stretch>
        </p:blipFill>
        <p:spPr>
          <a:xfrm>
            <a:off x="857250" y="428625"/>
            <a:ext cx="10477500" cy="6000750"/>
          </a:xfrm>
          <a:prstGeom prst="rect">
            <a:avLst/>
          </a:prstGeom>
        </p:spPr>
      </p:pic>
      <p:sp>
        <p:nvSpPr>
          <p:cNvPr id="13" name="Parallelogram 1">
            <a:extLst>
              <a:ext uri="{FF2B5EF4-FFF2-40B4-BE49-F238E27FC236}">
                <a16:creationId xmlns:a16="http://schemas.microsoft.com/office/drawing/2014/main" id="{34FB115E-E0CE-49CC-A211-15CF638640A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6"/>
              <a:extLst>
                <a:ext uri="{FF2B5EF4-FFF2-40B4-BE49-F238E27FC236}">
                  <a16:creationId xmlns:a16="http://schemas.microsoft.com/office/drawing/2014/main" id="{456F7029-15A8-43CF-9555-545449B2593D}"/>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11" name="Picture 10">
              <a:hlinkClick r:id="rId6"/>
              <a:extLst>
                <a:ext uri="{FF2B5EF4-FFF2-40B4-BE49-F238E27FC236}">
                  <a16:creationId xmlns:a16="http://schemas.microsoft.com/office/drawing/2014/main" id="{77565FDD-8CFE-4107-B95A-183142871000}"/>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6849101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499188"/>
            <a:ext cx="8348663"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D1C57241-F635-4F88-A1AA-ABDC60AC4854}"/>
              </a:ext>
            </a:extLst>
          </p:cNvPr>
          <p:cNvSpPr/>
          <p:nvPr/>
        </p:nvSpPr>
        <p:spPr>
          <a:xfrm>
            <a:off x="3700458" y="1933175"/>
            <a:ext cx="1773242" cy="584775"/>
          </a:xfrm>
          <a:prstGeom prst="rect">
            <a:avLst/>
          </a:prstGeom>
        </p:spPr>
        <p:txBody>
          <a:bodyPr wrap="none">
            <a:spAutoFit/>
          </a:bodyPr>
          <a:lstStyle/>
          <a:p>
            <a:r>
              <a:rPr lang="en-US" sz="3200" dirty="0">
                <a:solidFill>
                  <a:srgbClr val="00B050"/>
                </a:solidFill>
                <a:cs typeface="Segoe UI Light" panose="020B0502040204020203" pitchFamily="34" charset="0"/>
              </a:rPr>
              <a:t>1. Ribbon</a:t>
            </a:r>
            <a:endParaRPr lang="en-US" sz="3200" dirty="0">
              <a:solidFill>
                <a:srgbClr val="00B050"/>
              </a:solidFill>
            </a:endParaRPr>
          </a:p>
        </p:txBody>
      </p:sp>
      <p:cxnSp>
        <p:nvCxnSpPr>
          <p:cNvPr id="14" name="Straight Arrow Connector 13">
            <a:extLst>
              <a:ext uri="{FF2B5EF4-FFF2-40B4-BE49-F238E27FC236}">
                <a16:creationId xmlns:a16="http://schemas.microsoft.com/office/drawing/2014/main" id="{4F6F02DE-F93A-4253-B13D-EF5E33A85AB9}"/>
              </a:ext>
            </a:extLst>
          </p:cNvPr>
          <p:cNvCxnSpPr>
            <a:cxnSpLocks/>
            <a:stCxn id="3" idx="0"/>
          </p:cNvCxnSpPr>
          <p:nvPr/>
        </p:nvCxnSpPr>
        <p:spPr>
          <a:xfrm flipH="1" flipV="1">
            <a:off x="4577461" y="904875"/>
            <a:ext cx="9618" cy="10283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1AC06D5-7B8C-41EC-8E7F-6AE33451967D}"/>
              </a:ext>
            </a:extLst>
          </p:cNvPr>
          <p:cNvCxnSpPr>
            <a:cxnSpLocks/>
            <a:stCxn id="28" idx="1"/>
          </p:cNvCxnSpPr>
          <p:nvPr/>
        </p:nvCxnSpPr>
        <p:spPr>
          <a:xfrm flipH="1" flipV="1">
            <a:off x="254795" y="1272432"/>
            <a:ext cx="736224" cy="31811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86F6741-F207-430B-AB78-8C220E183B22}"/>
              </a:ext>
            </a:extLst>
          </p:cNvPr>
          <p:cNvSpPr/>
          <p:nvPr/>
        </p:nvSpPr>
        <p:spPr>
          <a:xfrm>
            <a:off x="991019" y="1298162"/>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32" name="Rectangle 31">
            <a:extLst>
              <a:ext uri="{FF2B5EF4-FFF2-40B4-BE49-F238E27FC236}">
                <a16:creationId xmlns:a16="http://schemas.microsoft.com/office/drawing/2014/main" id="{E6CB9BEE-62A4-4093-9768-19E7408E2993}"/>
              </a:ext>
            </a:extLst>
          </p:cNvPr>
          <p:cNvSpPr/>
          <p:nvPr/>
        </p:nvSpPr>
        <p:spPr>
          <a:xfrm>
            <a:off x="3700458" y="3400366"/>
            <a:ext cx="1754006" cy="584775"/>
          </a:xfrm>
          <a:prstGeom prst="rect">
            <a:avLst/>
          </a:prstGeom>
        </p:spPr>
        <p:txBody>
          <a:bodyPr wrap="none">
            <a:spAutoFit/>
          </a:bodyPr>
          <a:lstStyle/>
          <a:p>
            <a:r>
              <a:rPr lang="en-US" sz="3200" dirty="0">
                <a:solidFill>
                  <a:srgbClr val="00B050"/>
                </a:solidFill>
                <a:cs typeface="Segoe UI Light" panose="020B0502040204020203" pitchFamily="34" charset="0"/>
              </a:rPr>
              <a:t>2. Canvas</a:t>
            </a:r>
          </a:p>
        </p:txBody>
      </p:sp>
      <p:sp>
        <p:nvSpPr>
          <p:cNvPr id="33" name="Rectangle 32">
            <a:extLst>
              <a:ext uri="{FF2B5EF4-FFF2-40B4-BE49-F238E27FC236}">
                <a16:creationId xmlns:a16="http://schemas.microsoft.com/office/drawing/2014/main" id="{3C5389F9-2527-42FD-85B7-D1A18E2D9B20}"/>
              </a:ext>
            </a:extLst>
          </p:cNvPr>
          <p:cNvSpPr/>
          <p:nvPr/>
        </p:nvSpPr>
        <p:spPr>
          <a:xfrm>
            <a:off x="3727330" y="4878338"/>
            <a:ext cx="1544590" cy="584775"/>
          </a:xfrm>
          <a:prstGeom prst="rect">
            <a:avLst/>
          </a:prstGeom>
        </p:spPr>
        <p:txBody>
          <a:bodyPr wrap="none">
            <a:spAutoFit/>
          </a:bodyPr>
          <a:lstStyle/>
          <a:p>
            <a:r>
              <a:rPr lang="en-US" sz="3200" dirty="0">
                <a:solidFill>
                  <a:srgbClr val="00B050"/>
                </a:solidFill>
                <a:cs typeface="Segoe UI Light" panose="020B0502040204020203" pitchFamily="34" charset="0"/>
              </a:rPr>
              <a:t>3. Pages</a:t>
            </a:r>
          </a:p>
        </p:txBody>
      </p:sp>
      <p:cxnSp>
        <p:nvCxnSpPr>
          <p:cNvPr id="34" name="Straight Arrow Connector 33">
            <a:extLst>
              <a:ext uri="{FF2B5EF4-FFF2-40B4-BE49-F238E27FC236}">
                <a16:creationId xmlns:a16="http://schemas.microsoft.com/office/drawing/2014/main" id="{6BD992B0-B923-4B06-A009-DE447DA01260}"/>
              </a:ext>
            </a:extLst>
          </p:cNvPr>
          <p:cNvCxnSpPr>
            <a:cxnSpLocks/>
            <a:endCxn id="50" idx="0"/>
          </p:cNvCxnSpPr>
          <p:nvPr/>
        </p:nvCxnSpPr>
        <p:spPr>
          <a:xfrm flipH="1">
            <a:off x="2651903" y="5429250"/>
            <a:ext cx="1100947" cy="927061"/>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86DA644-0332-4858-999A-C2D447B54829}"/>
              </a:ext>
            </a:extLst>
          </p:cNvPr>
          <p:cNvSpPr/>
          <p:nvPr/>
        </p:nvSpPr>
        <p:spPr>
          <a:xfrm>
            <a:off x="7511320" y="3400366"/>
            <a:ext cx="1548822"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5. Fields</a:t>
            </a:r>
          </a:p>
        </p:txBody>
      </p:sp>
      <p:sp>
        <p:nvSpPr>
          <p:cNvPr id="40" name="Rectangle 39">
            <a:extLst>
              <a:ext uri="{FF2B5EF4-FFF2-40B4-BE49-F238E27FC236}">
                <a16:creationId xmlns:a16="http://schemas.microsoft.com/office/drawing/2014/main" id="{565D2693-C17F-49D1-8164-D715C751502A}"/>
              </a:ext>
            </a:extLst>
          </p:cNvPr>
          <p:cNvSpPr/>
          <p:nvPr/>
        </p:nvSpPr>
        <p:spPr>
          <a:xfrm>
            <a:off x="6205834" y="1345904"/>
            <a:ext cx="2854308"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4. Visualizations</a:t>
            </a:r>
          </a:p>
        </p:txBody>
      </p:sp>
      <p:cxnSp>
        <p:nvCxnSpPr>
          <p:cNvPr id="41" name="Straight Arrow Connector 40">
            <a:extLst>
              <a:ext uri="{FF2B5EF4-FFF2-40B4-BE49-F238E27FC236}">
                <a16:creationId xmlns:a16="http://schemas.microsoft.com/office/drawing/2014/main" id="{30DA32C6-EEBE-4A6E-85FF-BC585AA575EC}"/>
              </a:ext>
            </a:extLst>
          </p:cNvPr>
          <p:cNvCxnSpPr>
            <a:cxnSpLocks/>
            <a:stCxn id="40" idx="3"/>
          </p:cNvCxnSpPr>
          <p:nvPr/>
        </p:nvCxnSpPr>
        <p:spPr>
          <a:xfrm flipV="1">
            <a:off x="9060142" y="1217348"/>
            <a:ext cx="460376" cy="42094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4056594-93DC-4847-9192-1E55921DFA2C}"/>
              </a:ext>
            </a:extLst>
          </p:cNvPr>
          <p:cNvCxnSpPr>
            <a:cxnSpLocks/>
            <a:stCxn id="39" idx="3"/>
          </p:cNvCxnSpPr>
          <p:nvPr/>
        </p:nvCxnSpPr>
        <p:spPr>
          <a:xfrm flipV="1">
            <a:off x="9060142" y="1404066"/>
            <a:ext cx="2138569" cy="228868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3700FC05-27D5-4D2F-B753-976B5303F304}"/>
              </a:ext>
            </a:extLst>
          </p:cNvPr>
          <p:cNvSpPr/>
          <p:nvPr/>
        </p:nvSpPr>
        <p:spPr>
          <a:xfrm>
            <a:off x="258470" y="6356311"/>
            <a:ext cx="478686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2378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E5ACCBE-3143-4F0D-B785-181FA726AC5B}"/>
              </a:ext>
            </a:extLst>
          </p:cNvPr>
          <p:cNvPicPr>
            <a:picLocks noChangeAspect="1"/>
          </p:cNvPicPr>
          <p:nvPr/>
        </p:nvPicPr>
        <p:blipFill>
          <a:blip r:embed="rId3"/>
          <a:stretch>
            <a:fillRect/>
          </a:stretch>
        </p:blipFill>
        <p:spPr>
          <a:xfrm>
            <a:off x="0" y="0"/>
            <a:ext cx="1219200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EEA0863D-C8CE-4D1E-AF92-D0575E34D44D}"/>
              </a:ext>
            </a:extLst>
          </p:cNvPr>
          <p:cNvSpPr/>
          <p:nvPr/>
        </p:nvSpPr>
        <p:spPr>
          <a:xfrm>
            <a:off x="61912" y="914400"/>
            <a:ext cx="8348663"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D86B3D47-9BC6-40D9-B537-2FAD59147E52}"/>
              </a:ext>
            </a:extLst>
          </p:cNvPr>
          <p:cNvSpPr/>
          <p:nvPr/>
        </p:nvSpPr>
        <p:spPr>
          <a:xfrm>
            <a:off x="1" y="211931"/>
            <a:ext cx="2508250"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080E68D5-68CC-43B5-B0C7-BDE4E972EFE5}"/>
              </a:ext>
            </a:extLst>
          </p:cNvPr>
          <p:cNvSpPr/>
          <p:nvPr/>
        </p:nvSpPr>
        <p:spPr>
          <a:xfrm>
            <a:off x="9494554" y="1061163"/>
            <a:ext cx="262759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0572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0" name="Group 89">
            <a:extLst>
              <a:ext uri="{FF2B5EF4-FFF2-40B4-BE49-F238E27FC236}">
                <a16:creationId xmlns:a16="http://schemas.microsoft.com/office/drawing/2014/main" id="{9D474E88-A788-4EA2-B775-F5AE1ABFBA14}"/>
              </a:ext>
            </a:extLst>
          </p:cNvPr>
          <p:cNvGrpSpPr/>
          <p:nvPr/>
        </p:nvGrpSpPr>
        <p:grpSpPr>
          <a:xfrm>
            <a:off x="11290646" y="6569923"/>
            <a:ext cx="831504" cy="252506"/>
            <a:chOff x="668108" y="601336"/>
            <a:chExt cx="3665655" cy="1113164"/>
          </a:xfrm>
          <a:solidFill>
            <a:sysClr val="window" lastClr="FFFFFF"/>
          </a:solidFill>
        </p:grpSpPr>
        <p:pic>
          <p:nvPicPr>
            <p:cNvPr id="92" name="Picture 91">
              <a:hlinkClick r:id="rId5"/>
              <a:extLst>
                <a:ext uri="{FF2B5EF4-FFF2-40B4-BE49-F238E27FC236}">
                  <a16:creationId xmlns:a16="http://schemas.microsoft.com/office/drawing/2014/main" id="{97142A82-5E29-4BD9-BE18-ED32CE895E93}"/>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93" name="Picture 92">
              <a:hlinkClick r:id="rId5"/>
              <a:extLst>
                <a:ext uri="{FF2B5EF4-FFF2-40B4-BE49-F238E27FC236}">
                  <a16:creationId xmlns:a16="http://schemas.microsoft.com/office/drawing/2014/main" id="{3EF1FCB7-F8C1-43E8-8F62-4055AAE78316}"/>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8"/>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8"/>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8"/>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8"/>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extLst>
              <a:ext uri="{FF2B5EF4-FFF2-40B4-BE49-F238E27FC236}">
                <a16:creationId xmlns:a16="http://schemas.microsoft.com/office/drawing/2014/main" id="{4187437D-323F-4A81-85D0-9BDBF7C4496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547755"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extLst>
              <a:ext uri="{FF2B5EF4-FFF2-40B4-BE49-F238E27FC236}">
                <a16:creationId xmlns:a16="http://schemas.microsoft.com/office/drawing/2014/main" id="{6AF51C46-7411-4A1C-89DE-4E5DFF37342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extLst>
              <a:ext uri="{FF2B5EF4-FFF2-40B4-BE49-F238E27FC236}">
                <a16:creationId xmlns:a16="http://schemas.microsoft.com/office/drawing/2014/main" id="{AD3D6472-F6D2-4B97-8B73-9A46280F7B0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7871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E6CB35-2E46-4B70-8076-85E77AD9C1D4}"/>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96481CF7-0EA6-468F-A22A-C223D1B91334}"/>
              </a:ext>
            </a:extLst>
          </p:cNvPr>
          <p:cNvSpPr/>
          <p:nvPr/>
        </p:nvSpPr>
        <p:spPr>
          <a:xfrm>
            <a:off x="1308099"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F67277F-74DE-434A-AF19-97CA25BA89FD}"/>
              </a:ext>
            </a:extLst>
          </p:cNvPr>
          <p:cNvSpPr/>
          <p:nvPr/>
        </p:nvSpPr>
        <p:spPr>
          <a:xfrm>
            <a:off x="3096192" y="2890391"/>
            <a:ext cx="3022815"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Create visuals or </a:t>
            </a:r>
          </a:p>
          <a:p>
            <a:pPr algn="ctr"/>
            <a:r>
              <a:rPr lang="en-US" sz="3200" dirty="0">
                <a:solidFill>
                  <a:srgbClr val="00B050"/>
                </a:solidFill>
                <a:cs typeface="Segoe UI Light" panose="020B0502040204020203" pitchFamily="34" charset="0"/>
              </a:rPr>
              <a:t>view data here</a:t>
            </a:r>
          </a:p>
        </p:txBody>
      </p:sp>
      <p:sp>
        <p:nvSpPr>
          <p:cNvPr id="13" name="Rectangle 12">
            <a:extLst>
              <a:ext uri="{FF2B5EF4-FFF2-40B4-BE49-F238E27FC236}">
                <a16:creationId xmlns:a16="http://schemas.microsoft.com/office/drawing/2014/main" id="{586CA6AA-9201-41AA-B9A0-034460B07AEF}"/>
              </a:ext>
            </a:extLst>
          </p:cNvPr>
          <p:cNvSpPr/>
          <p:nvPr/>
        </p:nvSpPr>
        <p:spPr>
          <a:xfrm>
            <a:off x="9494554" y="1061163"/>
            <a:ext cx="2627596" cy="40056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5C1B21D-680A-498C-B5A7-B31BFBB8BB94}"/>
              </a:ext>
            </a:extLst>
          </p:cNvPr>
          <p:cNvSpPr/>
          <p:nvPr/>
        </p:nvSpPr>
        <p:spPr>
          <a:xfrm>
            <a:off x="9872518" y="5014124"/>
            <a:ext cx="1975028" cy="1077218"/>
          </a:xfrm>
          <a:prstGeom prst="rect">
            <a:avLst/>
          </a:prstGeom>
        </p:spPr>
        <p:txBody>
          <a:bodyPr wrap="none">
            <a:spAutoFit/>
          </a:bodyPr>
          <a:lstStyle/>
          <a:p>
            <a:pPr algn="ctr"/>
            <a:r>
              <a:rPr lang="en-US" sz="3200" dirty="0">
                <a:solidFill>
                  <a:srgbClr val="00B050"/>
                </a:solidFill>
                <a:cs typeface="Segoe UI Light" panose="020B0502040204020203" pitchFamily="34" charset="0"/>
              </a:rPr>
              <a:t>Edit report</a:t>
            </a:r>
          </a:p>
          <a:p>
            <a:pPr algn="ctr"/>
            <a:r>
              <a:rPr lang="en-US" sz="3200" dirty="0">
                <a:solidFill>
                  <a:srgbClr val="00B050"/>
                </a:solidFill>
                <a:cs typeface="Segoe UI Light" panose="020B0502040204020203" pitchFamily="34" charset="0"/>
              </a:rPr>
              <a:t>elements</a:t>
            </a:r>
          </a:p>
        </p:txBody>
      </p:sp>
      <p:sp>
        <p:nvSpPr>
          <p:cNvPr id="15" name="Rectangle 14">
            <a:extLst>
              <a:ext uri="{FF2B5EF4-FFF2-40B4-BE49-F238E27FC236}">
                <a16:creationId xmlns:a16="http://schemas.microsoft.com/office/drawing/2014/main" id="{28D34FC3-CD5B-41D7-A618-0E98203C0A1F}"/>
              </a:ext>
            </a:extLst>
          </p:cNvPr>
          <p:cNvSpPr/>
          <p:nvPr/>
        </p:nvSpPr>
        <p:spPr>
          <a:xfrm>
            <a:off x="610645" y="397669"/>
            <a:ext cx="809364" cy="75452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935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1536BE8B-BB58-4D18-81FD-02D8C7D52ECA}"/>
              </a:ext>
            </a:extLst>
          </p:cNvPr>
          <p:cNvPicPr>
            <a:picLocks noChangeAspect="1"/>
          </p:cNvPicPr>
          <p:nvPr/>
        </p:nvPicPr>
        <p:blipFill>
          <a:blip r:embed="rId7"/>
          <a:stretch>
            <a:fillRect/>
          </a:stretch>
        </p:blipFill>
        <p:spPr>
          <a:xfrm>
            <a:off x="3289735"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180369"/>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718843" y="4294134"/>
            <a:ext cx="1377157" cy="46122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09792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0E0E5A-8F8D-4391-B75A-01F8A55F68BB}"/>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7013D84D-FAF8-46BA-8FCC-EC0E46E6C4F5}"/>
              </a:ext>
            </a:extLst>
          </p:cNvPr>
          <p:cNvSpPr/>
          <p:nvPr/>
        </p:nvSpPr>
        <p:spPr>
          <a:xfrm>
            <a:off x="396080" y="192881"/>
            <a:ext cx="55880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D29EF78-7A2B-4F75-87B6-F274949425AD}"/>
              </a:ext>
            </a:extLst>
          </p:cNvPr>
          <p:cNvSpPr/>
          <p:nvPr/>
        </p:nvSpPr>
        <p:spPr>
          <a:xfrm>
            <a:off x="1085850" y="397669"/>
            <a:ext cx="395288" cy="602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52E234E0-1BA5-408B-B45E-86CE6D29BB07}"/>
              </a:ext>
            </a:extLst>
          </p:cNvPr>
          <p:cNvPicPr>
            <a:picLocks noChangeAspect="1"/>
          </p:cNvPicPr>
          <p:nvPr/>
        </p:nvPicPr>
        <p:blipFill>
          <a:blip r:embed="rId7"/>
          <a:stretch>
            <a:fillRect/>
          </a:stretch>
        </p:blipFill>
        <p:spPr>
          <a:xfrm>
            <a:off x="3289737" y="1437672"/>
            <a:ext cx="4377892" cy="4757644"/>
          </a:xfrm>
          <a:prstGeom prst="rect">
            <a:avLst/>
          </a:prstGeom>
        </p:spPr>
      </p:pic>
      <p:sp>
        <p:nvSpPr>
          <p:cNvPr id="14" name="Rectangle 13">
            <a:extLst>
              <a:ext uri="{FF2B5EF4-FFF2-40B4-BE49-F238E27FC236}">
                <a16:creationId xmlns:a16="http://schemas.microsoft.com/office/drawing/2014/main" id="{C329539B-9154-43B7-A196-4529CC664EE1}"/>
              </a:ext>
            </a:extLst>
          </p:cNvPr>
          <p:cNvSpPr/>
          <p:nvPr/>
        </p:nvSpPr>
        <p:spPr>
          <a:xfrm>
            <a:off x="3353594" y="3408611"/>
            <a:ext cx="1471613" cy="333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E4B548D-C8B0-44CE-8A3F-1D3DF034B35E}"/>
              </a:ext>
            </a:extLst>
          </p:cNvPr>
          <p:cNvSpPr/>
          <p:nvPr/>
        </p:nvSpPr>
        <p:spPr>
          <a:xfrm>
            <a:off x="4867275" y="3825875"/>
            <a:ext cx="1654175" cy="2571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59546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6" name="Picture 5">
            <a:extLst>
              <a:ext uri="{FF2B5EF4-FFF2-40B4-BE49-F238E27FC236}">
                <a16:creationId xmlns:a16="http://schemas.microsoft.com/office/drawing/2014/main" id="{44DDD095-2936-481B-9B7B-0A5B5AD11418}"/>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6" name="Rectangle 15">
            <a:extLst>
              <a:ext uri="{FF2B5EF4-FFF2-40B4-BE49-F238E27FC236}">
                <a16:creationId xmlns:a16="http://schemas.microsoft.com/office/drawing/2014/main" id="{761144A1-2483-4D59-90C1-CDD369EAD668}"/>
              </a:ext>
            </a:extLst>
          </p:cNvPr>
          <p:cNvSpPr/>
          <p:nvPr/>
        </p:nvSpPr>
        <p:spPr>
          <a:xfrm>
            <a:off x="66595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685F677-0DBF-4E96-88A3-C4AF44C8C46B}"/>
              </a:ext>
            </a:extLst>
          </p:cNvPr>
          <p:cNvSpPr/>
          <p:nvPr/>
        </p:nvSpPr>
        <p:spPr>
          <a:xfrm>
            <a:off x="4605338" y="397668"/>
            <a:ext cx="1890712" cy="8167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7F30732-8CA7-460E-9A72-BC4408B512F8}"/>
              </a:ext>
            </a:extLst>
          </p:cNvPr>
          <p:cNvSpPr/>
          <p:nvPr/>
        </p:nvSpPr>
        <p:spPr>
          <a:xfrm>
            <a:off x="6718300" y="397669"/>
            <a:ext cx="511175" cy="688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9E3B25-3D6E-4DFB-8579-CD94A0759E70}"/>
              </a:ext>
            </a:extLst>
          </p:cNvPr>
          <p:cNvSpPr/>
          <p:nvPr/>
        </p:nvSpPr>
        <p:spPr>
          <a:xfrm>
            <a:off x="453231" y="2974179"/>
            <a:ext cx="965994" cy="97393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1E3CB6-D32B-49B7-864E-C54F87F9BD31}"/>
              </a:ext>
            </a:extLst>
          </p:cNvPr>
          <p:cNvSpPr/>
          <p:nvPr/>
        </p:nvSpPr>
        <p:spPr>
          <a:xfrm>
            <a:off x="8926513" y="397669"/>
            <a:ext cx="1060450"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6655F49-5D06-4D58-987E-65D4515F47F8}"/>
              </a:ext>
            </a:extLst>
          </p:cNvPr>
          <p:cNvSpPr/>
          <p:nvPr/>
        </p:nvSpPr>
        <p:spPr>
          <a:xfrm>
            <a:off x="9821190" y="2420539"/>
            <a:ext cx="2012221" cy="1441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AACDA12-154C-40AD-9B1B-45C5AB3C994B}"/>
              </a:ext>
            </a:extLst>
          </p:cNvPr>
          <p:cNvSpPr/>
          <p:nvPr/>
        </p:nvSpPr>
        <p:spPr>
          <a:xfrm>
            <a:off x="7454106" y="397668"/>
            <a:ext cx="1472407" cy="81676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2321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2" name="Picture 11">
            <a:extLst>
              <a:ext uri="{FF2B5EF4-FFF2-40B4-BE49-F238E27FC236}">
                <a16:creationId xmlns:a16="http://schemas.microsoft.com/office/drawing/2014/main" id="{2C15C885-11FF-4C2E-B266-25483B585F5E}"/>
              </a:ext>
            </a:extLst>
          </p:cNvPr>
          <p:cNvPicPr>
            <a:picLocks noChangeAspect="1"/>
          </p:cNvPicPr>
          <p:nvPr/>
        </p:nvPicPr>
        <p:blipFill>
          <a:blip r:embed="rId7"/>
          <a:stretch>
            <a:fillRect/>
          </a:stretch>
        </p:blipFill>
        <p:spPr>
          <a:xfrm>
            <a:off x="222250" y="-14160"/>
            <a:ext cx="11747500" cy="6502935"/>
          </a:xfrm>
          <a:prstGeom prst="rect">
            <a:avLst/>
          </a:prstGeom>
        </p:spPr>
      </p:pic>
      <p:sp>
        <p:nvSpPr>
          <p:cNvPr id="13" name="Rectangle 12">
            <a:extLst>
              <a:ext uri="{FF2B5EF4-FFF2-40B4-BE49-F238E27FC236}">
                <a16:creationId xmlns:a16="http://schemas.microsoft.com/office/drawing/2014/main" id="{F00DF9E6-4365-4E72-9171-1F42392AE3B1}"/>
              </a:ext>
            </a:extLst>
          </p:cNvPr>
          <p:cNvSpPr/>
          <p:nvPr/>
        </p:nvSpPr>
        <p:spPr>
          <a:xfrm>
            <a:off x="1222216" y="22555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2067878" y="430344"/>
            <a:ext cx="3199447"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606426" y="430344"/>
            <a:ext cx="650874"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3680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A787C4-D5D5-4E1B-A379-C92BD3772C75}"/>
              </a:ext>
            </a:extLst>
          </p:cNvPr>
          <p:cNvPicPr>
            <a:picLocks noChangeAspect="1"/>
          </p:cNvPicPr>
          <p:nvPr/>
        </p:nvPicPr>
        <p:blipFill rotWithShape="1">
          <a:blip r:embed="rId3"/>
          <a:srcRect l="2273" r="2273"/>
          <a:stretch/>
        </p:blipFill>
        <p:spPr>
          <a:xfrm>
            <a:off x="0" y="-14160"/>
            <a:ext cx="12192000" cy="6886320"/>
          </a:xfrm>
          <a:prstGeom prst="rect">
            <a:avLst/>
          </a:prstGeom>
        </p:spPr>
      </p:pic>
      <p:pic>
        <p:nvPicPr>
          <p:cNvPr id="14" name="Picture 13">
            <a:extLst>
              <a:ext uri="{FF2B5EF4-FFF2-40B4-BE49-F238E27FC236}">
                <a16:creationId xmlns:a16="http://schemas.microsoft.com/office/drawing/2014/main" id="{45F5CEF5-14EE-4BA6-B32F-F335D091D84A}"/>
              </a:ext>
            </a:extLst>
          </p:cNvPr>
          <p:cNvPicPr>
            <a:picLocks noChangeAspect="1"/>
          </p:cNvPicPr>
          <p:nvPr/>
        </p:nvPicPr>
        <p:blipFill>
          <a:blip r:embed="rId4"/>
          <a:stretch>
            <a:fillRect/>
          </a:stretch>
        </p:blipFill>
        <p:spPr>
          <a:xfrm>
            <a:off x="222250" y="-14160"/>
            <a:ext cx="11747500" cy="650293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F00DF9E6-4365-4E72-9171-1F42392AE3B1}"/>
              </a:ext>
            </a:extLst>
          </p:cNvPr>
          <p:cNvSpPr/>
          <p:nvPr/>
        </p:nvSpPr>
        <p:spPr>
          <a:xfrm>
            <a:off x="1812290" y="225556"/>
            <a:ext cx="75231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3F29D0FF-4EE4-4B28-8AD9-0BB7E7EA10B3}"/>
              </a:ext>
            </a:extLst>
          </p:cNvPr>
          <p:cNvSpPr/>
          <p:nvPr/>
        </p:nvSpPr>
        <p:spPr>
          <a:xfrm>
            <a:off x="3031490" y="430344"/>
            <a:ext cx="1286509" cy="7840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B6D8EF4E-C9FD-4B5A-B068-3B14FC8F3593}"/>
              </a:ext>
            </a:extLst>
          </p:cNvPr>
          <p:cNvSpPr/>
          <p:nvPr/>
        </p:nvSpPr>
        <p:spPr>
          <a:xfrm>
            <a:off x="1863010" y="430344"/>
            <a:ext cx="1168479" cy="6110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96144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B19690-D9D5-4719-9FC9-79DA3B208606}"/>
              </a:ext>
            </a:extLst>
          </p:cNvPr>
          <p:cNvPicPr>
            <a:picLocks noChangeAspect="1"/>
          </p:cNvPicPr>
          <p:nvPr/>
        </p:nvPicPr>
        <p:blipFill rotWithShape="1">
          <a:blip r:embed="rId3"/>
          <a:srcRect l="100" t="313" r="187" b="347"/>
          <a:stretch/>
        </p:blipFill>
        <p:spPr>
          <a:xfrm>
            <a:off x="-2138" y="0"/>
            <a:ext cx="12204804"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2" name="Rectangle 11">
            <a:extLst>
              <a:ext uri="{FF2B5EF4-FFF2-40B4-BE49-F238E27FC236}">
                <a16:creationId xmlns:a16="http://schemas.microsoft.com/office/drawing/2014/main" id="{370D003C-F499-4114-BB4D-A742801140EF}"/>
              </a:ext>
            </a:extLst>
          </p:cNvPr>
          <p:cNvSpPr/>
          <p:nvPr/>
        </p:nvSpPr>
        <p:spPr>
          <a:xfrm>
            <a:off x="417354"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B73F10F-4182-464E-B1DF-63EFE74B94A7}"/>
              </a:ext>
            </a:extLst>
          </p:cNvPr>
          <p:cNvSpPr/>
          <p:nvPr/>
        </p:nvSpPr>
        <p:spPr>
          <a:xfrm>
            <a:off x="6076950" y="402024"/>
            <a:ext cx="585788" cy="4861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9C6A91FD-4740-47DF-8C06-7D0F53AF4A47}"/>
              </a:ext>
            </a:extLst>
          </p:cNvPr>
          <p:cNvCxnSpPr>
            <a:cxnSpLocks/>
          </p:cNvCxnSpPr>
          <p:nvPr/>
        </p:nvCxnSpPr>
        <p:spPr>
          <a:xfrm>
            <a:off x="6662738" y="888206"/>
            <a:ext cx="1340643" cy="19478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4478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C2211-E1D7-45A5-9321-F41FEFB87899}"/>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B2D334D5-C575-47D5-B647-E8F9722AB66B}"/>
              </a:ext>
            </a:extLst>
          </p:cNvPr>
          <p:cNvSpPr/>
          <p:nvPr/>
        </p:nvSpPr>
        <p:spPr>
          <a:xfrm>
            <a:off x="974566"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895C45-5199-4A20-90C5-0FADA6789585}"/>
              </a:ext>
            </a:extLst>
          </p:cNvPr>
          <p:cNvSpPr/>
          <p:nvPr/>
        </p:nvSpPr>
        <p:spPr>
          <a:xfrm>
            <a:off x="750094" y="402024"/>
            <a:ext cx="1212056" cy="63858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07A207D-B348-4633-85E3-26B1A271CE3C}"/>
              </a:ext>
            </a:extLst>
          </p:cNvPr>
          <p:cNvSpPr/>
          <p:nvPr/>
        </p:nvSpPr>
        <p:spPr>
          <a:xfrm>
            <a:off x="10290629" y="1040606"/>
            <a:ext cx="845009" cy="53633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606400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5115B7-E374-4B96-9BDC-F934EB19F3D3}"/>
              </a:ext>
            </a:extLst>
          </p:cNvPr>
          <p:cNvPicPr>
            <a:picLocks noChangeAspect="1"/>
          </p:cNvPicPr>
          <p:nvPr/>
        </p:nvPicPr>
        <p:blipFill>
          <a:blip r:embed="rId3"/>
          <a:stretch>
            <a:fillRect/>
          </a:stretch>
        </p:blipFill>
        <p:spPr>
          <a:xfrm>
            <a:off x="2741" y="0"/>
            <a:ext cx="12186518"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7" name="Rectangle 6">
            <a:extLst>
              <a:ext uri="{FF2B5EF4-FFF2-40B4-BE49-F238E27FC236}">
                <a16:creationId xmlns:a16="http://schemas.microsoft.com/office/drawing/2014/main" id="{5EAC002E-9344-4937-9AC6-285DC6787A10}"/>
              </a:ext>
            </a:extLst>
          </p:cNvPr>
          <p:cNvSpPr/>
          <p:nvPr/>
        </p:nvSpPr>
        <p:spPr>
          <a:xfrm>
            <a:off x="10534650" y="3428999"/>
            <a:ext cx="1276219" cy="22483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972FF83-58B6-4480-A282-DBA5B6185680}"/>
              </a:ext>
            </a:extLst>
          </p:cNvPr>
          <p:cNvSpPr/>
          <p:nvPr/>
        </p:nvSpPr>
        <p:spPr>
          <a:xfrm>
            <a:off x="16667" y="399643"/>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C43439-07FD-4095-9AC8-2B00952712D7}"/>
              </a:ext>
            </a:extLst>
          </p:cNvPr>
          <p:cNvSpPr/>
          <p:nvPr/>
        </p:nvSpPr>
        <p:spPr>
          <a:xfrm>
            <a:off x="11810869" y="158257"/>
            <a:ext cx="288099" cy="28690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E6721FEB-D255-4DD0-8F5E-AED7797ECC59}"/>
              </a:ext>
            </a:extLst>
          </p:cNvPr>
          <p:cNvCxnSpPr>
            <a:cxnSpLocks/>
            <a:stCxn id="15" idx="1"/>
            <a:endCxn id="12" idx="3"/>
          </p:cNvCxnSpPr>
          <p:nvPr/>
        </p:nvCxnSpPr>
        <p:spPr>
          <a:xfrm flipH="1" flipV="1">
            <a:off x="304766" y="543097"/>
            <a:ext cx="686253" cy="22018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081DE5-15B8-47A5-99C6-32170152FD6B}"/>
              </a:ext>
            </a:extLst>
          </p:cNvPr>
          <p:cNvSpPr/>
          <p:nvPr/>
        </p:nvSpPr>
        <p:spPr>
          <a:xfrm>
            <a:off x="991019" y="470895"/>
            <a:ext cx="2232086" cy="584775"/>
          </a:xfrm>
          <a:prstGeom prst="rect">
            <a:avLst/>
          </a:prstGeom>
        </p:spPr>
        <p:txBody>
          <a:bodyPr wrap="none">
            <a:spAutoFit/>
          </a:bodyPr>
          <a:lstStyle/>
          <a:p>
            <a:r>
              <a:rPr lang="en-US" sz="3200" dirty="0">
                <a:solidFill>
                  <a:srgbClr val="00B050"/>
                </a:solidFill>
                <a:cs typeface="Segoe UI Light" panose="020B0502040204020203" pitchFamily="34" charset="0"/>
              </a:rPr>
              <a:t>Report View</a:t>
            </a:r>
            <a:endParaRPr lang="en-US" sz="3200" dirty="0">
              <a:solidFill>
                <a:srgbClr val="00B050"/>
              </a:solidFill>
            </a:endParaRPr>
          </a:p>
        </p:txBody>
      </p:sp>
      <p:sp>
        <p:nvSpPr>
          <p:cNvPr id="16" name="Rectangle 15">
            <a:extLst>
              <a:ext uri="{FF2B5EF4-FFF2-40B4-BE49-F238E27FC236}">
                <a16:creationId xmlns:a16="http://schemas.microsoft.com/office/drawing/2014/main" id="{26F84C7A-D2D4-4C6F-8962-37179BB72B97}"/>
              </a:ext>
            </a:extLst>
          </p:cNvPr>
          <p:cNvSpPr/>
          <p:nvPr/>
        </p:nvSpPr>
        <p:spPr>
          <a:xfrm>
            <a:off x="6653151" y="9323"/>
            <a:ext cx="2232086" cy="584775"/>
          </a:xfrm>
          <a:prstGeom prst="rect">
            <a:avLst/>
          </a:prstGeom>
        </p:spPr>
        <p:txBody>
          <a:bodyPr wrap="square">
            <a:spAutoFit/>
          </a:bodyPr>
          <a:lstStyle/>
          <a:p>
            <a:pPr algn="r"/>
            <a:r>
              <a:rPr lang="en-US" sz="3200" dirty="0">
                <a:solidFill>
                  <a:srgbClr val="00B050"/>
                </a:solidFill>
                <a:cs typeface="Segoe UI Light" panose="020B0502040204020203" pitchFamily="34" charset="0"/>
              </a:rPr>
              <a:t>Hide Ribbon</a:t>
            </a:r>
          </a:p>
        </p:txBody>
      </p:sp>
      <p:cxnSp>
        <p:nvCxnSpPr>
          <p:cNvPr id="17" name="Straight Arrow Connector 16">
            <a:extLst>
              <a:ext uri="{FF2B5EF4-FFF2-40B4-BE49-F238E27FC236}">
                <a16:creationId xmlns:a16="http://schemas.microsoft.com/office/drawing/2014/main" id="{43C7CD2B-301E-4EAD-9F01-0B4C66ED30BA}"/>
              </a:ext>
            </a:extLst>
          </p:cNvPr>
          <p:cNvCxnSpPr>
            <a:cxnSpLocks/>
            <a:stCxn id="16" idx="3"/>
            <a:endCxn id="13" idx="1"/>
          </p:cNvCxnSpPr>
          <p:nvPr/>
        </p:nvCxnSpPr>
        <p:spPr>
          <a:xfrm>
            <a:off x="8885237" y="301711"/>
            <a:ext cx="292563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0C6847B-4FE5-4AEA-B37A-C3D9FE3A7FBA}"/>
              </a:ext>
            </a:extLst>
          </p:cNvPr>
          <p:cNvSpPr/>
          <p:nvPr/>
        </p:nvSpPr>
        <p:spPr>
          <a:xfrm>
            <a:off x="7311506" y="3388039"/>
            <a:ext cx="1860830" cy="584775"/>
          </a:xfrm>
          <a:prstGeom prst="rect">
            <a:avLst/>
          </a:prstGeom>
        </p:spPr>
        <p:txBody>
          <a:bodyPr wrap="none">
            <a:spAutoFit/>
          </a:bodyPr>
          <a:lstStyle/>
          <a:p>
            <a:pPr algn="r"/>
            <a:r>
              <a:rPr lang="en-US" sz="3200" dirty="0">
                <a:solidFill>
                  <a:srgbClr val="00B050"/>
                </a:solidFill>
                <a:cs typeface="Segoe UI Light" panose="020B0502040204020203" pitchFamily="34" charset="0"/>
              </a:rPr>
              <a:t>Right click</a:t>
            </a:r>
          </a:p>
        </p:txBody>
      </p:sp>
      <p:cxnSp>
        <p:nvCxnSpPr>
          <p:cNvPr id="19" name="Straight Arrow Connector 18">
            <a:extLst>
              <a:ext uri="{FF2B5EF4-FFF2-40B4-BE49-F238E27FC236}">
                <a16:creationId xmlns:a16="http://schemas.microsoft.com/office/drawing/2014/main" id="{991781F6-BE06-4449-BD1D-E9AA794A2A30}"/>
              </a:ext>
            </a:extLst>
          </p:cNvPr>
          <p:cNvCxnSpPr>
            <a:cxnSpLocks/>
            <a:stCxn id="18" idx="3"/>
            <a:endCxn id="7" idx="1"/>
          </p:cNvCxnSpPr>
          <p:nvPr/>
        </p:nvCxnSpPr>
        <p:spPr>
          <a:xfrm>
            <a:off x="9172336" y="3680427"/>
            <a:ext cx="1362314" cy="87276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5435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3FFAF0-3DB5-4B0B-A0EE-C149862A7D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ABDDFE69-86E0-4AE2-B166-4D067A34CC07}"/>
              </a:ext>
            </a:extLst>
          </p:cNvPr>
          <p:cNvSpPr/>
          <p:nvPr/>
        </p:nvSpPr>
        <p:spPr>
          <a:xfrm>
            <a:off x="9620250" y="3683000"/>
            <a:ext cx="1276219" cy="1104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01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38" name="Group 37">
            <a:extLst>
              <a:ext uri="{FF2B5EF4-FFF2-40B4-BE49-F238E27FC236}">
                <a16:creationId xmlns:a16="http://schemas.microsoft.com/office/drawing/2014/main" id="{FED12B76-9A02-452E-A374-5A88AAE2C0B4}"/>
              </a:ext>
            </a:extLst>
          </p:cNvPr>
          <p:cNvGrpSpPr/>
          <p:nvPr/>
        </p:nvGrpSpPr>
        <p:grpSpPr>
          <a:xfrm>
            <a:off x="11290646" y="6569923"/>
            <a:ext cx="831504" cy="252506"/>
            <a:chOff x="668108" y="601336"/>
            <a:chExt cx="3665655" cy="1113164"/>
          </a:xfrm>
          <a:solidFill>
            <a:sysClr val="window" lastClr="FFFFFF"/>
          </a:solidFill>
        </p:grpSpPr>
        <p:pic>
          <p:nvPicPr>
            <p:cNvPr id="40" name="Picture 39">
              <a:hlinkClick r:id="rId7"/>
              <a:extLst>
                <a:ext uri="{FF2B5EF4-FFF2-40B4-BE49-F238E27FC236}">
                  <a16:creationId xmlns:a16="http://schemas.microsoft.com/office/drawing/2014/main" id="{74637490-DCF3-4CD7-A32F-1BBBE5520805}"/>
                </a:ext>
              </a:extLst>
            </p:cNvPr>
            <p:cNvPicPr>
              <a:picLocks noChangeAspect="1"/>
            </p:cNvPicPr>
            <p:nvPr/>
          </p:nvPicPr>
          <p:blipFill>
            <a:blip r:embed="rId8"/>
            <a:stretch>
              <a:fillRect/>
            </a:stretch>
          </p:blipFill>
          <p:spPr>
            <a:xfrm>
              <a:off x="668108" y="601336"/>
              <a:ext cx="1151971" cy="1113164"/>
            </a:xfrm>
            <a:prstGeom prst="rect">
              <a:avLst/>
            </a:prstGeom>
            <a:grpFill/>
          </p:spPr>
        </p:pic>
        <p:pic>
          <p:nvPicPr>
            <p:cNvPr id="41" name="Picture 40">
              <a:hlinkClick r:id="rId7"/>
              <a:extLst>
                <a:ext uri="{FF2B5EF4-FFF2-40B4-BE49-F238E27FC236}">
                  <a16:creationId xmlns:a16="http://schemas.microsoft.com/office/drawing/2014/main" id="{C773F620-3F0F-49ED-8B21-6541E6FB5839}"/>
                </a:ext>
              </a:extLst>
            </p:cNvPr>
            <p:cNvPicPr>
              <a:picLocks noChangeAspect="1"/>
            </p:cNvPicPr>
            <p:nvPr/>
          </p:nvPicPr>
          <p:blipFill>
            <a:blip r:embed="rId9"/>
            <a:stretch>
              <a:fillRect/>
            </a:stretch>
          </p:blipFill>
          <p:spPr>
            <a:xfrm>
              <a:off x="1465541" y="1130596"/>
              <a:ext cx="2868222" cy="355013"/>
            </a:xfrm>
            <a:prstGeom prst="rect">
              <a:avLst/>
            </a:prstGeom>
            <a:grpFill/>
          </p:spPr>
        </p:pic>
      </p:gr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4749907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B143A0-DEEE-46EC-B7F0-3CEC3EB8E89C}"/>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5D997212-98DF-4CF0-966A-AAE1A9AF3884}"/>
              </a:ext>
            </a:extLst>
          </p:cNvPr>
          <p:cNvSpPr/>
          <p:nvPr/>
        </p:nvSpPr>
        <p:spPr>
          <a:xfrm>
            <a:off x="9620250" y="3657600"/>
            <a:ext cx="1276219" cy="24892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70515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5D3000-5D1D-4346-A5AA-4AD010D1BC8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C0DCD592-0F66-4528-9F03-522B49E1D00D}"/>
              </a:ext>
            </a:extLst>
          </p:cNvPr>
          <p:cNvSpPr/>
          <p:nvPr/>
        </p:nvSpPr>
        <p:spPr>
          <a:xfrm>
            <a:off x="2470150" y="685800"/>
            <a:ext cx="3346450" cy="8890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43ABFA2F-64B3-43CC-B658-2F5E603F3E9C}"/>
              </a:ext>
            </a:extLst>
          </p:cNvPr>
          <p:cNvSpPr/>
          <p:nvPr/>
        </p:nvSpPr>
        <p:spPr>
          <a:xfrm>
            <a:off x="9620250" y="2501900"/>
            <a:ext cx="1276219" cy="7874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00393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3" name="Picture 2">
            <a:extLst>
              <a:ext uri="{FF2B5EF4-FFF2-40B4-BE49-F238E27FC236}">
                <a16:creationId xmlns:a16="http://schemas.microsoft.com/office/drawing/2014/main" id="{DB58BAFD-8561-47BA-94CE-F7EE6A9C1FB6}"/>
              </a:ext>
            </a:extLst>
          </p:cNvPr>
          <p:cNvPicPr>
            <a:picLocks noChangeAspect="1"/>
          </p:cNvPicPr>
          <p:nvPr/>
        </p:nvPicPr>
        <p:blipFill>
          <a:blip r:embed="rId7"/>
          <a:stretch>
            <a:fillRect/>
          </a:stretch>
        </p:blipFill>
        <p:spPr>
          <a:xfrm>
            <a:off x="2741" y="0"/>
            <a:ext cx="12186518" cy="6858000"/>
          </a:xfrm>
          <a:prstGeom prst="rect">
            <a:avLst/>
          </a:prstGeom>
        </p:spPr>
      </p:pic>
      <p:sp>
        <p:nvSpPr>
          <p:cNvPr id="13" name="Rectangle 12">
            <a:extLst>
              <a:ext uri="{FF2B5EF4-FFF2-40B4-BE49-F238E27FC236}">
                <a16:creationId xmlns:a16="http://schemas.microsoft.com/office/drawing/2014/main" id="{A54393FF-E6C6-4BD8-BEC1-5D9C4BFC1335}"/>
              </a:ext>
            </a:extLst>
          </p:cNvPr>
          <p:cNvSpPr/>
          <p:nvPr/>
        </p:nvSpPr>
        <p:spPr>
          <a:xfrm>
            <a:off x="539750" y="3429000"/>
            <a:ext cx="1830070" cy="134874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49695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0E0FF91C-3217-4A94-82EA-F89B59AE73C4}"/>
              </a:ext>
            </a:extLst>
          </p:cNvPr>
          <p:cNvPicPr>
            <a:picLocks noChangeAspect="1"/>
          </p:cNvPicPr>
          <p:nvPr/>
        </p:nvPicPr>
        <p:blipFill>
          <a:blip r:embed="rId7"/>
          <a:stretch>
            <a:fillRect/>
          </a:stretch>
        </p:blipFill>
        <p:spPr>
          <a:xfrm>
            <a:off x="2741" y="0"/>
            <a:ext cx="12186518" cy="6858000"/>
          </a:xfrm>
          <a:prstGeom prst="rect">
            <a:avLst/>
          </a:prstGeom>
        </p:spPr>
      </p:pic>
      <p:cxnSp>
        <p:nvCxnSpPr>
          <p:cNvPr id="15" name="Straight Arrow Connector 14">
            <a:extLst>
              <a:ext uri="{FF2B5EF4-FFF2-40B4-BE49-F238E27FC236}">
                <a16:creationId xmlns:a16="http://schemas.microsoft.com/office/drawing/2014/main" id="{B98CD473-0CFF-443B-8285-194F4DEB30AF}"/>
              </a:ext>
            </a:extLst>
          </p:cNvPr>
          <p:cNvCxnSpPr>
            <a:cxnSpLocks/>
          </p:cNvCxnSpPr>
          <p:nvPr/>
        </p:nvCxnSpPr>
        <p:spPr>
          <a:xfrm>
            <a:off x="1013460" y="4091940"/>
            <a:ext cx="1227296" cy="903923"/>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9288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50093-87B7-4470-A80D-A0105975DB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36CB2D3B-F7D1-4CD1-A4BB-C2305A7A91AE}"/>
              </a:ext>
            </a:extLst>
          </p:cNvPr>
          <p:cNvSpPr/>
          <p:nvPr/>
        </p:nvSpPr>
        <p:spPr>
          <a:xfrm>
            <a:off x="5748162" y="3181350"/>
            <a:ext cx="3472038" cy="19192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Arrow Connector 13">
            <a:extLst>
              <a:ext uri="{FF2B5EF4-FFF2-40B4-BE49-F238E27FC236}">
                <a16:creationId xmlns:a16="http://schemas.microsoft.com/office/drawing/2014/main" id="{5B2E6F0A-D8B5-4296-8E53-6E38F647E8D7}"/>
              </a:ext>
            </a:extLst>
          </p:cNvPr>
          <p:cNvCxnSpPr>
            <a:cxnSpLocks/>
          </p:cNvCxnSpPr>
          <p:nvPr/>
        </p:nvCxnSpPr>
        <p:spPr>
          <a:xfrm flipV="1">
            <a:off x="7172325" y="3690938"/>
            <a:ext cx="1776413" cy="14763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133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AB2133-126A-4514-A004-E7EE07FD7AA7}"/>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F235D7B2-3BEA-4FC3-B980-8511EC57D7FF}"/>
              </a:ext>
            </a:extLst>
          </p:cNvPr>
          <p:cNvCxnSpPr>
            <a:cxnSpLocks/>
          </p:cNvCxnSpPr>
          <p:nvPr/>
        </p:nvCxnSpPr>
        <p:spPr>
          <a:xfrm flipV="1">
            <a:off x="8367212" y="469292"/>
            <a:ext cx="926926" cy="388306"/>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0116D4F-4E22-46A3-95D8-A29D2421559B}"/>
              </a:ext>
            </a:extLst>
          </p:cNvPr>
          <p:cNvCxnSpPr>
            <a:cxnSpLocks/>
          </p:cNvCxnSpPr>
          <p:nvPr/>
        </p:nvCxnSpPr>
        <p:spPr>
          <a:xfrm flipH="1">
            <a:off x="804863" y="469292"/>
            <a:ext cx="1128713"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C2AFC54-7C45-4D9D-831D-D31C37D3D7A2}"/>
              </a:ext>
            </a:extLst>
          </p:cNvPr>
          <p:cNvSpPr/>
          <p:nvPr/>
        </p:nvSpPr>
        <p:spPr>
          <a:xfrm>
            <a:off x="9661525" y="2219326"/>
            <a:ext cx="1203325" cy="6096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02105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31A2C0-2AB5-4718-BF03-E93911F902A0}"/>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4" name="Straight Arrow Connector 13">
            <a:extLst>
              <a:ext uri="{FF2B5EF4-FFF2-40B4-BE49-F238E27FC236}">
                <a16:creationId xmlns:a16="http://schemas.microsoft.com/office/drawing/2014/main" id="{1244DDAE-E62D-4D44-85EF-D38DDED15AE8}"/>
              </a:ext>
            </a:extLst>
          </p:cNvPr>
          <p:cNvCxnSpPr>
            <a:cxnSpLocks/>
          </p:cNvCxnSpPr>
          <p:nvPr/>
        </p:nvCxnSpPr>
        <p:spPr>
          <a:xfrm flipH="1">
            <a:off x="2924176" y="5743575"/>
            <a:ext cx="342899" cy="73705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5765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67D685-D7EE-40A8-A382-C1F37C2D53D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260EB4AF-8F39-495C-B079-9E78CBCD46AB}"/>
              </a:ext>
            </a:extLst>
          </p:cNvPr>
          <p:cNvSpPr/>
          <p:nvPr/>
        </p:nvSpPr>
        <p:spPr>
          <a:xfrm>
            <a:off x="254000" y="508000"/>
            <a:ext cx="520700" cy="2508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E6FE5AD-8F4B-4C68-84DE-F6296B722A66}"/>
              </a:ext>
            </a:extLst>
          </p:cNvPr>
          <p:cNvSpPr/>
          <p:nvPr/>
        </p:nvSpPr>
        <p:spPr>
          <a:xfrm>
            <a:off x="8885238" y="1266825"/>
            <a:ext cx="563562" cy="542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9395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CCBDF6-A297-4E55-886F-08F70B5AB862}"/>
              </a:ext>
            </a:extLst>
          </p:cNvPr>
          <p:cNvPicPr>
            <a:picLocks noChangeAspect="1"/>
          </p:cNvPicPr>
          <p:nvPr/>
        </p:nvPicPr>
        <p:blipFill>
          <a:blip r:embed="rId3"/>
          <a:stretch>
            <a:fillRect/>
          </a:stretch>
        </p:blipFill>
        <p:spPr>
          <a:xfrm>
            <a:off x="7055" y="0"/>
            <a:ext cx="12177889"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8832916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5FB2C4-CACB-4E76-952C-63A87DB8CA15}"/>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C58C7806-290C-4CB3-8833-5D347E71EF2E}"/>
              </a:ext>
            </a:extLst>
          </p:cNvPr>
          <p:cNvSpPr/>
          <p:nvPr/>
        </p:nvSpPr>
        <p:spPr>
          <a:xfrm>
            <a:off x="871379" y="197236"/>
            <a:ext cx="511176"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168DA789-D9B1-4161-90BF-33BC771CCB3E}"/>
              </a:ext>
            </a:extLst>
          </p:cNvPr>
          <p:cNvSpPr/>
          <p:nvPr/>
        </p:nvSpPr>
        <p:spPr>
          <a:xfrm>
            <a:off x="1652428" y="698886"/>
            <a:ext cx="658971" cy="2047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F2F776A-08CB-41BB-93A1-EA83BA0681F3}"/>
              </a:ext>
            </a:extLst>
          </p:cNvPr>
          <p:cNvSpPr/>
          <p:nvPr/>
        </p:nvSpPr>
        <p:spPr>
          <a:xfrm>
            <a:off x="8374061" y="1026318"/>
            <a:ext cx="1293813" cy="16597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092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grpSp>
        <p:nvGrpSpPr>
          <p:cNvPr id="16" name="Group 15">
            <a:extLst>
              <a:ext uri="{FF2B5EF4-FFF2-40B4-BE49-F238E27FC236}">
                <a16:creationId xmlns:a16="http://schemas.microsoft.com/office/drawing/2014/main" id="{0E704EF5-19B9-485F-8722-16CBE3F74E03}"/>
              </a:ext>
            </a:extLst>
          </p:cNvPr>
          <p:cNvGrpSpPr/>
          <p:nvPr/>
        </p:nvGrpSpPr>
        <p:grpSpPr>
          <a:xfrm>
            <a:off x="11290646" y="6569923"/>
            <a:ext cx="831504" cy="252506"/>
            <a:chOff x="668108" y="601336"/>
            <a:chExt cx="3665655" cy="1113164"/>
          </a:xfrm>
          <a:solidFill>
            <a:sysClr val="window" lastClr="FFFFFF"/>
          </a:solidFill>
        </p:grpSpPr>
        <p:pic>
          <p:nvPicPr>
            <p:cNvPr id="17" name="Picture 16">
              <a:hlinkClick r:id="rId8"/>
              <a:extLst>
                <a:ext uri="{FF2B5EF4-FFF2-40B4-BE49-F238E27FC236}">
                  <a16:creationId xmlns:a16="http://schemas.microsoft.com/office/drawing/2014/main" id="{27CAF9CA-B7BB-4A2A-B74E-09BBD29242E5}"/>
                </a:ext>
              </a:extLst>
            </p:cNvPr>
            <p:cNvPicPr>
              <a:picLocks noChangeAspect="1"/>
            </p:cNvPicPr>
            <p:nvPr/>
          </p:nvPicPr>
          <p:blipFill>
            <a:blip r:embed="rId9"/>
            <a:stretch>
              <a:fillRect/>
            </a:stretch>
          </p:blipFill>
          <p:spPr>
            <a:xfrm>
              <a:off x="668108" y="601336"/>
              <a:ext cx="1151971" cy="1113164"/>
            </a:xfrm>
            <a:prstGeom prst="rect">
              <a:avLst/>
            </a:prstGeom>
            <a:grpFill/>
          </p:spPr>
        </p:pic>
        <p:pic>
          <p:nvPicPr>
            <p:cNvPr id="18" name="Picture 17">
              <a:hlinkClick r:id="rId8"/>
              <a:extLst>
                <a:ext uri="{FF2B5EF4-FFF2-40B4-BE49-F238E27FC236}">
                  <a16:creationId xmlns:a16="http://schemas.microsoft.com/office/drawing/2014/main" id="{6A8A4875-18DA-453C-90CA-AF0768B2D1C5}"/>
                </a:ext>
              </a:extLst>
            </p:cNvPr>
            <p:cNvPicPr>
              <a:picLocks noChangeAspect="1"/>
            </p:cNvPicPr>
            <p:nvPr/>
          </p:nvPicPr>
          <p:blipFill>
            <a:blip r:embed="rId10"/>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21326F-885F-4605-AA32-4A2EF3771B3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9896996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CC8C89-00A3-424D-8EC2-5A9A7403FC8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E95B0C8C-6598-4E9C-A678-F7AD60633A4F}"/>
              </a:ext>
            </a:extLst>
          </p:cNvPr>
          <p:cNvSpPr/>
          <p:nvPr/>
        </p:nvSpPr>
        <p:spPr>
          <a:xfrm>
            <a:off x="490537" y="3381375"/>
            <a:ext cx="563564" cy="2063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139701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E2321F-EAC5-48F2-9C35-2E169EF79C6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4" name="Rectangle 13">
            <a:extLst>
              <a:ext uri="{FF2B5EF4-FFF2-40B4-BE49-F238E27FC236}">
                <a16:creationId xmlns:a16="http://schemas.microsoft.com/office/drawing/2014/main" id="{AB80EEA8-CCF5-49E1-951D-420AE41F1992}"/>
              </a:ext>
            </a:extLst>
          </p:cNvPr>
          <p:cNvSpPr/>
          <p:nvPr/>
        </p:nvSpPr>
        <p:spPr>
          <a:xfrm>
            <a:off x="10906126" y="1094581"/>
            <a:ext cx="790574" cy="102949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a:extLst>
              <a:ext uri="{FF2B5EF4-FFF2-40B4-BE49-F238E27FC236}">
                <a16:creationId xmlns:a16="http://schemas.microsoft.com/office/drawing/2014/main" id="{341A8673-5CA0-4918-8766-775184FF57D5}"/>
              </a:ext>
            </a:extLst>
          </p:cNvPr>
          <p:cNvCxnSpPr>
            <a:cxnSpLocks/>
          </p:cNvCxnSpPr>
          <p:nvPr/>
        </p:nvCxnSpPr>
        <p:spPr>
          <a:xfrm flipH="1">
            <a:off x="7673340" y="2197100"/>
            <a:ext cx="2246948" cy="113284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094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699D4-4D1E-45BF-BDFE-C3949F93E743}"/>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B0F851FC-F3FF-4276-9C2C-91D0BE12577D}"/>
              </a:ext>
            </a:extLst>
          </p:cNvPr>
          <p:cNvSpPr/>
          <p:nvPr/>
        </p:nvSpPr>
        <p:spPr>
          <a:xfrm>
            <a:off x="10906126" y="1718387"/>
            <a:ext cx="790574" cy="40568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75899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FFCBDF-D36F-4D36-81E2-AC6FFF3051D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cxnSp>
        <p:nvCxnSpPr>
          <p:cNvPr id="13" name="Straight Arrow Connector 12">
            <a:extLst>
              <a:ext uri="{FF2B5EF4-FFF2-40B4-BE49-F238E27FC236}">
                <a16:creationId xmlns:a16="http://schemas.microsoft.com/office/drawing/2014/main" id="{35F75768-A86D-44F5-8D01-AC3346B88AF5}"/>
              </a:ext>
            </a:extLst>
          </p:cNvPr>
          <p:cNvCxnSpPr>
            <a:cxnSpLocks/>
          </p:cNvCxnSpPr>
          <p:nvPr/>
        </p:nvCxnSpPr>
        <p:spPr>
          <a:xfrm>
            <a:off x="9267825" y="2133600"/>
            <a:ext cx="0" cy="107950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65F92B-FF59-446D-805E-EA1E3F33BE09}"/>
              </a:ext>
            </a:extLst>
          </p:cNvPr>
          <p:cNvSpPr/>
          <p:nvPr/>
        </p:nvSpPr>
        <p:spPr>
          <a:xfrm>
            <a:off x="8094664" y="3524250"/>
            <a:ext cx="790574" cy="21907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636049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3DDFF5-3DAC-48D2-A7ED-7F1EE5D0B33B}"/>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8402713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0257C2-33BF-47E2-8C0B-8D96CECC3B7E}"/>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13" name="Rectangle 12">
            <a:extLst>
              <a:ext uri="{FF2B5EF4-FFF2-40B4-BE49-F238E27FC236}">
                <a16:creationId xmlns:a16="http://schemas.microsoft.com/office/drawing/2014/main" id="{6EAC9117-B268-4337-A196-7E7CB7AA412E}"/>
              </a:ext>
            </a:extLst>
          </p:cNvPr>
          <p:cNvSpPr/>
          <p:nvPr/>
        </p:nvSpPr>
        <p:spPr>
          <a:xfrm>
            <a:off x="423862" y="3481387"/>
            <a:ext cx="563564" cy="206375"/>
          </a:xfrm>
          <a:prstGeom prst="rect">
            <a:avLst/>
          </a:prstGeom>
          <a:noFill/>
          <a:ln w="57150">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7065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0F498F-391D-4C2B-9064-C79BE94B8672}"/>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1148016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4E1483-3CAD-4E3A-A891-A671FCC8E298}"/>
              </a:ext>
            </a:extLst>
          </p:cNvPr>
          <p:cNvPicPr>
            <a:picLocks noChangeAspect="1"/>
          </p:cNvPicPr>
          <p:nvPr/>
        </p:nvPicPr>
        <p:blipFill>
          <a:blip r:embed="rId3"/>
          <a:stretch>
            <a:fillRect/>
          </a:stretch>
        </p:blipFill>
        <p:spPr>
          <a:xfrm>
            <a:off x="2741" y="0"/>
            <a:ext cx="12186518" cy="6858000"/>
          </a:xfrm>
          <a:prstGeom prst="rect">
            <a:avLst/>
          </a:prstGeom>
        </p:spPr>
      </p:pic>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5"/>
              <a:extLst>
                <a:ext uri="{FF2B5EF4-FFF2-40B4-BE49-F238E27FC236}">
                  <a16:creationId xmlns:a16="http://schemas.microsoft.com/office/drawing/2014/main" id="{456F7029-15A8-43CF-9555-545449B2593D}"/>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11" name="Picture 10">
              <a:hlinkClick r:id="rId5"/>
              <a:extLst>
                <a:ext uri="{FF2B5EF4-FFF2-40B4-BE49-F238E27FC236}">
                  <a16:creationId xmlns:a16="http://schemas.microsoft.com/office/drawing/2014/main" id="{77565FDD-8CFE-4107-B95A-183142871000}"/>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4309525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D851BAE9-4B49-4167-A59C-36BF9B867809}"/>
              </a:ext>
            </a:extLst>
          </p:cNvPr>
          <p:cNvPicPr>
            <a:picLocks noChangeAspect="1"/>
          </p:cNvPicPr>
          <p:nvPr/>
        </p:nvPicPr>
        <p:blipFill>
          <a:blip r:embed="rId7"/>
          <a:stretch>
            <a:fillRect/>
          </a:stretch>
        </p:blipFill>
        <p:spPr>
          <a:xfrm>
            <a:off x="2741" y="0"/>
            <a:ext cx="12186518" cy="6858000"/>
          </a:xfrm>
          <a:prstGeom prst="rect">
            <a:avLst/>
          </a:prstGeom>
        </p:spPr>
      </p:pic>
    </p:spTree>
    <p:extLst>
      <p:ext uri="{BB962C8B-B14F-4D97-AF65-F5344CB8AC3E}">
        <p14:creationId xmlns:p14="http://schemas.microsoft.com/office/powerpoint/2010/main" val="1876095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475</TotalTime>
  <Words>9935</Words>
  <Application>Microsoft Office PowerPoint</Application>
  <PresentationFormat>Widescreen</PresentationFormat>
  <Paragraphs>1153</Paragraphs>
  <Slides>174</Slides>
  <Notes>171</Notes>
  <HiddenSlides>2</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4</vt:i4>
      </vt:variant>
    </vt:vector>
  </HeadingPairs>
  <TitlesOfParts>
    <vt:vector size="192" baseType="lpstr">
      <vt:lpstr>Arial</vt:lpstr>
      <vt:lpstr>Calibri</vt:lpstr>
      <vt:lpstr>Calibri Light</vt:lpstr>
      <vt:lpstr>Century Gothic</vt:lpstr>
      <vt:lpstr>DIN</vt:lpstr>
      <vt:lpstr>Gill Sans</vt:lpstr>
      <vt:lpstr>Gotham Light</vt:lpstr>
      <vt:lpstr>Segoe UI</vt:lpstr>
      <vt:lpstr>Segoe UI (Body)</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in A Day</dc:title>
  <dc:creator>Hiram Fleitas</dc:creator>
  <cp:keywords>Power BI, Dashboard</cp:keywords>
  <cp:lastModifiedBy>Hiram Fleitas</cp:lastModifiedBy>
  <cp:revision>533</cp:revision>
  <dcterms:created xsi:type="dcterms:W3CDTF">2016-05-30T15:33:26Z</dcterms:created>
  <dcterms:modified xsi:type="dcterms:W3CDTF">2019-05-03T14:21:23Z</dcterms:modified>
  <cp:category>Power BI</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